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ink/ink1.xml" ContentType="application/inkml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33" r:id="rId4"/>
    <p:sldMasterId id="2147483856" r:id="rId5"/>
    <p:sldMasterId id="2147483888" r:id="rId6"/>
  </p:sldMasterIdLst>
  <p:notesMasterIdLst>
    <p:notesMasterId r:id="rId17"/>
  </p:notesMasterIdLst>
  <p:handoutMasterIdLst>
    <p:handoutMasterId r:id="rId18"/>
  </p:handoutMasterIdLst>
  <p:sldIdLst>
    <p:sldId id="494" r:id="rId7"/>
    <p:sldId id="2147482937" r:id="rId8"/>
    <p:sldId id="2147482995" r:id="rId9"/>
    <p:sldId id="2147482952" r:id="rId10"/>
    <p:sldId id="2147482979" r:id="rId11"/>
    <p:sldId id="2147482984" r:id="rId12"/>
    <p:sldId id="2147482981" r:id="rId13"/>
    <p:sldId id="2147482993" r:id="rId14"/>
    <p:sldId id="2147482985" r:id="rId15"/>
    <p:sldId id="2147482982" r:id="rId16"/>
  </p:sldIdLst>
  <p:sldSz cx="9144000" cy="5143500" type="screen16x9"/>
  <p:notesSz cx="6805613" cy="9944100"/>
  <p:custDataLst>
    <p:tags r:id="rId19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ED9CA1D-BEB0-47D8-8549-E09E49755CFA}">
          <p14:sldIdLst>
            <p14:sldId id="494"/>
            <p14:sldId id="2147482937"/>
            <p14:sldId id="2147482995"/>
            <p14:sldId id="2147482952"/>
            <p14:sldId id="2147482979"/>
            <p14:sldId id="2147482984"/>
            <p14:sldId id="2147482981"/>
            <p14:sldId id="2147482993"/>
            <p14:sldId id="2147482985"/>
            <p14:sldId id="214748298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58" userDrawn="1">
          <p15:clr>
            <a:srgbClr val="A4A3A4"/>
          </p15:clr>
        </p15:guide>
        <p15:guide id="2" orient="horz" pos="1098" userDrawn="1">
          <p15:clr>
            <a:srgbClr val="A4A3A4"/>
          </p15:clr>
        </p15:guide>
        <p15:guide id="3" orient="horz" pos="1212" userDrawn="1">
          <p15:clr>
            <a:srgbClr val="A4A3A4"/>
          </p15:clr>
        </p15:guide>
        <p15:guide id="4" orient="horz" pos="1847" userDrawn="1">
          <p15:clr>
            <a:srgbClr val="A4A3A4"/>
          </p15:clr>
        </p15:guide>
        <p15:guide id="6" orient="horz" pos="509" userDrawn="1">
          <p15:clr>
            <a:srgbClr val="A4A3A4"/>
          </p15:clr>
        </p15:guide>
        <p15:guide id="7" pos="2880" userDrawn="1">
          <p15:clr>
            <a:srgbClr val="A4A3A4"/>
          </p15:clr>
        </p15:guide>
        <p15:guide id="8" pos="1973" userDrawn="1">
          <p15:clr>
            <a:srgbClr val="A4A3A4"/>
          </p15:clr>
        </p15:guide>
        <p15:guide id="9" pos="5397">
          <p15:clr>
            <a:srgbClr val="A4A3A4"/>
          </p15:clr>
        </p15:guide>
        <p15:guide id="10" pos="4195" userDrawn="1">
          <p15:clr>
            <a:srgbClr val="A4A3A4"/>
          </p15:clr>
        </p15:guide>
        <p15:guide id="11" pos="5307">
          <p15:clr>
            <a:srgbClr val="A4A3A4"/>
          </p15:clr>
        </p15:guide>
        <p15:guide id="12" pos="1859" userDrawn="1">
          <p15:clr>
            <a:srgbClr val="A4A3A4"/>
          </p15:clr>
        </p15:guide>
        <p15:guide id="13" pos="4241" userDrawn="1">
          <p15:clr>
            <a:srgbClr val="A4A3A4"/>
          </p15:clr>
        </p15:guide>
        <p15:guide id="14" pos="5443">
          <p15:clr>
            <a:srgbClr val="A4A3A4"/>
          </p15:clr>
        </p15:guide>
        <p15:guide id="16" pos="5624" userDrawn="1">
          <p15:clr>
            <a:srgbClr val="A4A3A4"/>
          </p15:clr>
        </p15:guide>
        <p15:guide id="18" orient="horz" pos="2028" userDrawn="1">
          <p15:clr>
            <a:srgbClr val="A4A3A4"/>
          </p15:clr>
        </p15:guide>
        <p15:guide id="19" pos="839" userDrawn="1">
          <p15:clr>
            <a:srgbClr val="A4A3A4"/>
          </p15:clr>
        </p15:guide>
        <p15:guide id="20" pos="3129" userDrawn="1">
          <p15:clr>
            <a:srgbClr val="A4A3A4"/>
          </p15:clr>
        </p15:guide>
        <p15:guide id="21" orient="horz" pos="225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B45BA35-19F8-1AC0-2233-0CF7B55B9DA4}" name="Carucci, Giulia" initials="CG" userId="S::giulia.carucci@accenture.com::c4cd9a2a-6c33-43c8-8a23-7082f64e48ee" providerId="AD"/>
  <p188:author id="{B549025D-6166-60BC-633E-42B3B5E088DC}" name="Matera, Roberto" initials="MR" userId="S::r.matera@accenture.com::381cc6df-365d-4b51-82c2-4396d0b1326c" providerId="AD"/>
  <p188:author id="{B4CA7A91-4610-B4EC-3503-B82B431A09D2}" name="Zappa, Rachele" initials="ZR" userId="S::rachele.zappa@accenture.com::e47cbf85-3560-41f6-85a3-528bb8f51a7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rese Gianluca" initials="AG" lastIdx="1" clrIdx="0">
    <p:extLst>
      <p:ext uri="{19B8F6BF-5375-455C-9EA6-DF929625EA0E}">
        <p15:presenceInfo xmlns:p15="http://schemas.microsoft.com/office/powerpoint/2012/main" userId="S::gianluca.arese@raipubblicita.it::afcfcb77-1012-43af-b86c-e81b45f8f56e" providerId="AD"/>
      </p:ext>
    </p:extLst>
  </p:cmAuthor>
  <p:cmAuthor id="2" name="Natale Raffaele" initials="NR" lastIdx="12" clrIdx="1">
    <p:extLst>
      <p:ext uri="{19B8F6BF-5375-455C-9EA6-DF929625EA0E}">
        <p15:presenceInfo xmlns:p15="http://schemas.microsoft.com/office/powerpoint/2012/main" userId="S::raffaele.natale@raipubblicita.it::b880e8cb-91c0-4658-beb5-f2947f4aff66" providerId="AD"/>
      </p:ext>
    </p:extLst>
  </p:cmAuthor>
  <p:cmAuthor id="3" name="Marulli, Luisa" initials="ML" lastIdx="2" clrIdx="2">
    <p:extLst>
      <p:ext uri="{19B8F6BF-5375-455C-9EA6-DF929625EA0E}">
        <p15:presenceInfo xmlns:p15="http://schemas.microsoft.com/office/powerpoint/2012/main" userId="S::luisa.marulli@capgemini.com::60a5d158-c8f8-4255-938d-2cc94a94f35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198F"/>
    <a:srgbClr val="FAFAFA"/>
    <a:srgbClr val="5A118E"/>
    <a:srgbClr val="F41ED0"/>
    <a:srgbClr val="D83ACD"/>
    <a:srgbClr val="050399"/>
    <a:srgbClr val="FFFFFF"/>
    <a:srgbClr val="7030A0"/>
    <a:srgbClr val="C4D5F4"/>
    <a:srgbClr val="FCD8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610286-DDAF-33C3-E62B-7B3DC6CD3330}" v="36" dt="2024-11-27T17:04:21.192"/>
    <p1510:client id="{6B11E2FD-EC24-49B1-97CC-2258F115458B}" v="3727" dt="2024-11-27T16:26:15.401"/>
    <p1510:client id="{C345DA28-80FC-496C-AA83-6D0190C6EC27}" v="54" dt="2024-11-27T16:10:20.296"/>
    <p1510:client id="{DB46CAD2-29B7-4789-AE2F-ACE0AFA5DA15}" v="72" dt="2024-11-26T16:41:19.173"/>
  </p1510:revLst>
</p1510:revInfo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Stile medio 1 - Color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800" y="52"/>
      </p:cViewPr>
      <p:guideLst>
        <p:guide orient="horz" pos="758"/>
        <p:guide orient="horz" pos="1098"/>
        <p:guide orient="horz" pos="1212"/>
        <p:guide orient="horz" pos="1847"/>
        <p:guide orient="horz" pos="509"/>
        <p:guide pos="2880"/>
        <p:guide pos="1973"/>
        <p:guide pos="5397"/>
        <p:guide pos="4195"/>
        <p:guide pos="5307"/>
        <p:guide pos="1859"/>
        <p:guide pos="4241"/>
        <p:guide pos="5443"/>
        <p:guide pos="5624"/>
        <p:guide orient="horz" pos="2028"/>
        <p:guide pos="839"/>
        <p:guide pos="3129"/>
        <p:guide orient="horz" pos="225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90F805DF-FA09-42BB-AC63-958FE90D6BD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6"/>
          </a:xfrm>
          <a:prstGeom prst="rect">
            <a:avLst/>
          </a:prstGeom>
        </p:spPr>
        <p:txBody>
          <a:bodyPr vert="horz" lIns="90974" tIns="45487" rIns="90974" bIns="45487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37D3E840-010D-4704-8668-781D9FDFAC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4451" y="0"/>
            <a:ext cx="2949575" cy="498476"/>
          </a:xfrm>
          <a:prstGeom prst="rect">
            <a:avLst/>
          </a:prstGeom>
        </p:spPr>
        <p:txBody>
          <a:bodyPr vert="horz" lIns="90974" tIns="45487" rIns="90974" bIns="45487" rtlCol="0"/>
          <a:lstStyle>
            <a:lvl1pPr algn="r">
              <a:defRPr sz="1200"/>
            </a:lvl1pPr>
          </a:lstStyle>
          <a:p>
            <a:fld id="{2D3D57D6-7008-4F39-BCAE-BE1CD45AFEF7}" type="datetimeFigureOut">
              <a:rPr lang="it-IT" smtClean="0"/>
              <a:t>27/11/2024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EDD5C2EC-F9B6-4D91-A917-32884CB64DA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5626"/>
            <a:ext cx="2949575" cy="498476"/>
          </a:xfrm>
          <a:prstGeom prst="rect">
            <a:avLst/>
          </a:prstGeom>
        </p:spPr>
        <p:txBody>
          <a:bodyPr vert="horz" lIns="90974" tIns="45487" rIns="90974" bIns="45487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7D093699-672B-44D6-9306-7AF2CA7CE1D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4451" y="9445626"/>
            <a:ext cx="2949575" cy="498476"/>
          </a:xfrm>
          <a:prstGeom prst="rect">
            <a:avLst/>
          </a:prstGeom>
        </p:spPr>
        <p:txBody>
          <a:bodyPr vert="horz" lIns="90974" tIns="45487" rIns="90974" bIns="45487" rtlCol="0" anchor="b"/>
          <a:lstStyle>
            <a:lvl1pPr algn="r">
              <a:defRPr sz="1200"/>
            </a:lvl1pPr>
          </a:lstStyle>
          <a:p>
            <a:fld id="{E25E6603-033A-4611-817A-2184B21E4219}" type="slidenum">
              <a:rPr lang="it-IT" smtClean="0"/>
              <a:t>‹N›</a:t>
            </a:fld>
            <a:endParaRPr lang="it-IT"/>
          </a:p>
        </p:txBody>
      </p:sp>
      <p:sp>
        <p:nvSpPr>
          <p:cNvPr id="6" name="btfpLayoutConfig" hidden="1"/>
          <p:cNvSpPr txBox="1"/>
          <p:nvPr/>
        </p:nvSpPr>
        <p:spPr>
          <a:xfrm>
            <a:off x="12374" y="13604"/>
            <a:ext cx="8661689" cy="107251"/>
          </a:xfrm>
          <a:prstGeom prst="rect">
            <a:avLst/>
          </a:prstGeom>
          <a:noFill/>
        </p:spPr>
        <p:txBody>
          <a:bodyPr vert="horz" lIns="90974" tIns="45487" rIns="90974" bIns="45487" rtlCol="0">
            <a:spAutoFit/>
          </a:bodyPr>
          <a:lstStyle/>
          <a:p>
            <a:r>
              <a:rPr lang="it-IT" sz="100">
                <a:solidFill>
                  <a:srgbClr val="FFFFFF">
                    <a:alpha val="0"/>
                  </a:srgbClr>
                </a:solidFill>
              </a:rPr>
              <a:t>overall_1_132072364704633042 columns_1_132072364704633042 </a:t>
            </a:r>
          </a:p>
        </p:txBody>
      </p:sp>
    </p:spTree>
    <p:extLst>
      <p:ext uri="{BB962C8B-B14F-4D97-AF65-F5344CB8AC3E}">
        <p14:creationId xmlns:p14="http://schemas.microsoft.com/office/powerpoint/2010/main" val="91479327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4-17T08:33:09.937"/>
    </inkml:context>
    <inkml:brush xml:id="br0">
      <inkml:brushProperty name="width" value="0.035" units="cm"/>
      <inkml:brushProperty name="height" value="0.035" units="cm"/>
    </inkml:brush>
  </inkml:definitions>
  <inkml:trace contextRef="#ctx0" brushRef="#br0">0 1 5010,'0'0'10629,"3"0"-11173,-3 6-3554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099" cy="497205"/>
          </a:xfrm>
          <a:prstGeom prst="rect">
            <a:avLst/>
          </a:prstGeom>
        </p:spPr>
        <p:txBody>
          <a:bodyPr vert="horz" lIns="90974" tIns="45487" rIns="90974" bIns="45487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4941" y="0"/>
            <a:ext cx="2949099" cy="497205"/>
          </a:xfrm>
          <a:prstGeom prst="rect">
            <a:avLst/>
          </a:prstGeom>
        </p:spPr>
        <p:txBody>
          <a:bodyPr vert="horz" lIns="90974" tIns="45487" rIns="90974" bIns="45487" rtlCol="0"/>
          <a:lstStyle>
            <a:lvl1pPr algn="r">
              <a:defRPr sz="1200"/>
            </a:lvl1pPr>
          </a:lstStyle>
          <a:p>
            <a:fld id="{606BCC12-5031-4CFA-BDA9-FD295ED21BDF}" type="datetimeFigureOut">
              <a:rPr lang="it-IT" smtClean="0"/>
              <a:t>27/11/20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7713"/>
            <a:ext cx="662463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0974" tIns="45487" rIns="90974" bIns="45487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7205"/>
          </a:xfrm>
          <a:prstGeom prst="rect">
            <a:avLst/>
          </a:prstGeom>
        </p:spPr>
        <p:txBody>
          <a:bodyPr vert="horz" lIns="90974" tIns="45487" rIns="90974" bIns="45487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4941" y="9445170"/>
            <a:ext cx="2949099" cy="497205"/>
          </a:xfrm>
          <a:prstGeom prst="rect">
            <a:avLst/>
          </a:prstGeom>
        </p:spPr>
        <p:txBody>
          <a:bodyPr vert="horz" lIns="90974" tIns="45487" rIns="90974" bIns="45487" rtlCol="0" anchor="b"/>
          <a:lstStyle>
            <a:lvl1pPr algn="r">
              <a:defRPr sz="1200"/>
            </a:lvl1pPr>
          </a:lstStyle>
          <a:p>
            <a:fld id="{EB7D2424-6A00-49BF-9445-B53529808BA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061282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7D2424-6A00-49BF-9445-B53529808BA5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138477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baseline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7D2424-6A00-49BF-9445-B53529808BA5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349674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baseline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7D2424-6A00-49BF-9445-B53529808BA5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56534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baseline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7D2424-6A00-49BF-9445-B53529808BA5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17854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58763" y="249058"/>
            <a:ext cx="8623914" cy="317871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58763" y="1327354"/>
            <a:ext cx="8623914" cy="3202244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7938" indent="0">
              <a:tabLst/>
              <a:defRPr lang="en-US" dirty="0" smtClean="0"/>
            </a:lvl2pPr>
            <a:lvl3pPr marL="153984" indent="-153984">
              <a:tabLst/>
              <a:defRPr lang="en-US" b="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58763" y="566928"/>
            <a:ext cx="8623914" cy="393700"/>
          </a:xfrm>
        </p:spPr>
        <p:txBody>
          <a:bodyPr>
            <a:norm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1350" b="1" cap="all" spc="-150" baseline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60201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4D827F-8C3A-AB43-8848-54ABF057C7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649" y="291893"/>
            <a:ext cx="8281118" cy="346249"/>
          </a:xfrm>
        </p:spPr>
        <p:txBody>
          <a:bodyPr/>
          <a:lstStyle>
            <a:lvl1pPr algn="l">
              <a:defRPr sz="2250"/>
            </a:lvl1pPr>
          </a:lstStyle>
          <a:p>
            <a:r>
              <a:rPr lang="en-GB"/>
              <a:t>One column text 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378C59-CA18-B245-A4A4-18FDF719DB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5800"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08A8BA13-8D10-1042-A1F6-9889FA69AC3F}" type="slidenum">
              <a:rPr lang="en-US" smtClean="0">
                <a:solidFill>
                  <a:srgbClr val="000000"/>
                </a:solidFill>
              </a:rPr>
              <a:pPr defTabSz="685800">
                <a:defRPr/>
              </a:pPr>
              <a:t>‹N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978DE3-8016-F94A-8C63-A61A8A18E077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7340958" y="0"/>
            <a:ext cx="1517292" cy="285750"/>
          </a:xfrm>
          <a:prstGeom prst="rect">
            <a:avLst/>
          </a:prstGeom>
        </p:spPr>
        <p:txBody>
          <a:bodyPr/>
          <a:lstStyle/>
          <a:p>
            <a:pPr algn="r" defTabSz="685800">
              <a:defRPr/>
            </a:pPr>
            <a:endParaRPr lang="en-US" sz="600">
              <a:solidFill>
                <a:srgbClr val="000000">
                  <a:alpha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920697-A4B6-C842-A701-F36D5FD07A6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>
              <a:defRPr/>
            </a:pPr>
            <a:endParaRPr lang="en-US" sz="1350">
              <a:solidFill>
                <a:srgbClr val="000000"/>
              </a:solidFill>
            </a:endParaRP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4726D94-8D0F-F943-8C87-82816C33B6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6649" y="1251479"/>
            <a:ext cx="8572500" cy="3272030"/>
          </a:xfrm>
        </p:spPr>
        <p:txBody>
          <a:bodyPr/>
          <a:lstStyle/>
          <a:p>
            <a:pPr lvl="0"/>
            <a:r>
              <a:rPr lang="en-GB"/>
              <a:t>First level (bold 14pt)</a:t>
            </a:r>
          </a:p>
          <a:p>
            <a:pPr lvl="2"/>
            <a:r>
              <a:rPr lang="en-GB"/>
              <a:t>Third level (bullet 14pt)</a:t>
            </a:r>
          </a:p>
          <a:p>
            <a:pPr lvl="3"/>
            <a:r>
              <a:rPr lang="en-GB"/>
              <a:t>Fourth level (bullet 14pt)</a:t>
            </a:r>
          </a:p>
          <a:p>
            <a:pPr lvl="4"/>
            <a:r>
              <a:rPr lang="en-GB"/>
              <a:t>Fifth level (bullet 12pt)</a:t>
            </a:r>
          </a:p>
        </p:txBody>
      </p:sp>
    </p:spTree>
    <p:extLst>
      <p:ext uri="{BB962C8B-B14F-4D97-AF65-F5344CB8AC3E}">
        <p14:creationId xmlns:p14="http://schemas.microsoft.com/office/powerpoint/2010/main" val="3791628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B47006-44A9-4BAE-B774-022A0EEB3E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6" imgH="396" progId="TCLayout.ActiveDocument.1">
                  <p:embed/>
                </p:oleObj>
              </mc:Choice>
              <mc:Fallback>
                <p:oleObj name="think-cell Slide" r:id="rId3" imgW="396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7B47006-44A9-4BAE-B774-022A0EEB3E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85750" y="285751"/>
            <a:ext cx="8572500" cy="580586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>
            <a:lvl1pPr marL="0" marR="0" indent="0" algn="l" defTabSz="130097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25"/>
            </a:lvl1pPr>
          </a:lstStyle>
          <a:p>
            <a:pPr marL="0" marR="0" lvl="0" indent="0" algn="l" defTabSz="130097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25" b="1" i="0" u="none" strike="noStrike" kern="1200" cap="all" spc="-7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rPr>
              <a:t>Accenture </a:t>
            </a:r>
            <a:r>
              <a:rPr kumimoji="0" lang="en-US" sz="2025" b="0" i="0" u="none" strike="noStrike" kern="1200" cap="all" spc="-7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rPr>
              <a:t>| </a:t>
            </a:r>
            <a:r>
              <a:rPr kumimoji="0" lang="en-US" sz="2025" b="0" i="0" u="none" strike="noStrike" kern="1200" cap="all" spc="-7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rPr>
              <a:t>xyz</a:t>
            </a:r>
            <a:endParaRPr kumimoji="0" lang="en-US" sz="2025" b="0" i="0" u="none" strike="noStrike" kern="1200" cap="all" spc="-7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ea typeface="+mn-ea"/>
              <a:cs typeface="+mn-cs"/>
            </a:endParaRPr>
          </a:p>
        </p:txBody>
      </p:sp>
      <p:sp>
        <p:nvSpPr>
          <p:cNvPr id="8" name="Textplatzhalter 2"/>
          <p:cNvSpPr>
            <a:spLocks noGrp="1"/>
          </p:cNvSpPr>
          <p:nvPr>
            <p:ph type="body" idx="13"/>
          </p:nvPr>
        </p:nvSpPr>
        <p:spPr>
          <a:xfrm>
            <a:off x="285750" y="866338"/>
            <a:ext cx="8572500" cy="422240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1500" b="1" dirty="0" smtClean="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marL="132157" lvl="0" indent="-132157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4A0F2245-AF2C-8FA8-9C9F-9ABE4BA758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3559" y="4867519"/>
            <a:ext cx="244691" cy="150876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8925F73-C949-9CE5-FF06-70B6D8C732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86400" y="4866175"/>
            <a:ext cx="3086100" cy="14873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6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171450">
              <a:spcAft>
                <a:spcPts val="900"/>
              </a:spcAft>
              <a:defRPr/>
            </a:pP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A052A5-51E0-7A42-4226-7F85533E40A9}"/>
              </a:ext>
            </a:extLst>
          </p:cNvPr>
          <p:cNvSpPr/>
          <p:nvPr userDrawn="1"/>
        </p:nvSpPr>
        <p:spPr>
          <a:xfrm>
            <a:off x="0" y="0"/>
            <a:ext cx="9144000" cy="150876"/>
          </a:xfrm>
          <a:prstGeom prst="rect">
            <a:avLst/>
          </a:prstGeom>
          <a:gradFill>
            <a:gsLst>
              <a:gs pos="0">
                <a:srgbClr val="82F5D3"/>
              </a:gs>
              <a:gs pos="25000">
                <a:srgbClr val="87D1DA"/>
              </a:gs>
              <a:gs pos="75000">
                <a:srgbClr val="917CE8"/>
              </a:gs>
              <a:gs pos="49000">
                <a:srgbClr val="8DA5E2"/>
              </a:gs>
              <a:gs pos="100000">
                <a:srgbClr val="9C25F9"/>
              </a:gs>
            </a:gsLst>
            <a:lin ang="3000000" scaled="0"/>
          </a:gradFill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endParaRPr lang="en-US" sz="2700" b="1">
              <a:noFill/>
              <a:latin typeface="Graphik Semibold" panose="020B0503030202060203" pitchFamily="34" charset="77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982804379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ong Headlin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86400" y="4866175"/>
            <a:ext cx="3086100" cy="14873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6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171450">
              <a:spcAft>
                <a:spcPts val="900"/>
              </a:spcAft>
              <a:defRPr/>
            </a:pPr>
            <a:endParaRPr lang="en-GB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CEE6C20-59C5-9C93-F2ED-6574425368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5750" y="1282616"/>
            <a:ext cx="8572500" cy="34481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5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Char char="•"/>
              <a:defRPr sz="1500" b="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1pPr>
            <a:lvl2pPr marL="34290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Font typeface="Graphik" panose="020B0503030202060203" pitchFamily="34" charset="0"/>
              <a:buChar char="–"/>
              <a:defRPr sz="15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2pPr>
            <a:lvl3pPr marL="51435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3pPr>
            <a:lvl4pPr marL="68580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Graphik" panose="020B0503030202060203" pitchFamily="34" charset="0"/>
              <a:buChar char="–"/>
              <a:defRPr sz="135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4pPr>
            <a:lvl5pPr marL="85725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5pPr>
            <a:lvl6pPr marL="8335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Graphik" panose="020B0503030202060203" pitchFamily="34" charset="0"/>
              <a:buNone/>
              <a:tabLst/>
              <a:defRPr sz="12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6pPr>
            <a:lvl7pPr marL="0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None/>
              <a:defRPr sz="9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7pPr>
            <a:lvl8pPr marL="0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None/>
              <a:defRPr sz="750" b="1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8pPr>
            <a:lvl9pPr marL="0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None/>
              <a:defRPr sz="600" kern="1200">
                <a:solidFill>
                  <a:schemeClr val="tx2"/>
                </a:solidFill>
                <a:latin typeface="Graphik Light" panose="020B0403030202060203" pitchFamily="34" charset="0"/>
                <a:ea typeface="+mn-ea"/>
                <a:cs typeface="+mn-cs"/>
              </a:defRPr>
            </a:lvl9pPr>
          </a:lstStyle>
          <a:p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  <a:endParaRPr lang="en-US" sz="1800">
              <a:solidFill>
                <a:srgbClr val="8DA5E2"/>
              </a:solidFill>
              <a:latin typeface="Graphik-Light" panose="020B0403030202060203" pitchFamily="34" charset="77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7385B6C-9298-6654-E90D-DC596B126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626921"/>
            <a:ext cx="8572500" cy="65569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Place headline here (36pt, min 30pt)</a:t>
            </a:r>
            <a:endParaRPr lang="en-US">
              <a:gradFill>
                <a:gsLst>
                  <a:gs pos="0">
                    <a:srgbClr val="82F5D3"/>
                  </a:gs>
                  <a:gs pos="25000">
                    <a:srgbClr val="87D1DA"/>
                  </a:gs>
                  <a:gs pos="75000">
                    <a:srgbClr val="917CE8"/>
                  </a:gs>
                  <a:gs pos="49000">
                    <a:srgbClr val="8DA5E2"/>
                  </a:gs>
                  <a:gs pos="100000">
                    <a:srgbClr val="9C25F9"/>
                  </a:gs>
                </a:gsLst>
                <a:lin ang="3000000" scaled="0"/>
              </a:gradFill>
              <a:latin typeface="Graphik-SemiboldItalic" panose="020B0503030202060203" pitchFamily="34" charset="77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78D8779-497E-01C2-F495-09BDBD7A7160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285749" y="261941"/>
            <a:ext cx="8572500" cy="258532"/>
          </a:xfrm>
          <a:prstGeom prst="rect">
            <a:avLst/>
          </a:prstGeom>
        </p:spPr>
        <p:txBody>
          <a:bodyPr vert="horz" lIns="0" tIns="91440" rIns="0" bIns="0" rtlCol="0">
            <a:spAutoFit/>
          </a:bodyPr>
          <a:lstStyle>
            <a:lvl1pPr marL="0" indent="0">
              <a:buNone/>
              <a:defRPr sz="1200" b="0" i="0">
                <a:solidFill>
                  <a:schemeClr val="accent1"/>
                </a:solidFill>
                <a:latin typeface="Graphik Medium" panose="020B0603030202060203" pitchFamily="34" charset="0"/>
              </a:defRPr>
            </a:lvl1pPr>
          </a:lstStyle>
          <a:p>
            <a:pPr lvl="0"/>
            <a:r>
              <a:rPr lang="en-US"/>
              <a:t>Place subhead here (20pt, min 16pt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8CA8792-698F-31B3-69ED-0D74811B291C}"/>
              </a:ext>
            </a:extLst>
          </p:cNvPr>
          <p:cNvSpPr/>
          <p:nvPr userDrawn="1"/>
        </p:nvSpPr>
        <p:spPr>
          <a:xfrm>
            <a:off x="0" y="0"/>
            <a:ext cx="9144000" cy="150876"/>
          </a:xfrm>
          <a:prstGeom prst="rect">
            <a:avLst/>
          </a:prstGeom>
          <a:gradFill>
            <a:gsLst>
              <a:gs pos="0">
                <a:srgbClr val="82F5D3"/>
              </a:gs>
              <a:gs pos="25000">
                <a:srgbClr val="87D1DA"/>
              </a:gs>
              <a:gs pos="75000">
                <a:srgbClr val="917CE8"/>
              </a:gs>
              <a:gs pos="49000">
                <a:srgbClr val="8DA5E2"/>
              </a:gs>
              <a:gs pos="100000">
                <a:srgbClr val="9C25F9"/>
              </a:gs>
            </a:gsLst>
            <a:lin ang="3000000" scaled="0"/>
          </a:gradFill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endParaRPr lang="en-US" sz="2700" b="1">
              <a:noFill/>
              <a:latin typeface="Graphik Semibold" panose="020B0503030202060203" pitchFamily="34" charset="77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791081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 descr="Background image placeholder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5715" y="-6858"/>
            <a:ext cx="9155430" cy="5157216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285751" y="285751"/>
            <a:ext cx="4286250" cy="1857374"/>
          </a:xfrm>
        </p:spPr>
        <p:txBody>
          <a:bodyPr anchor="b"/>
          <a:lstStyle>
            <a:lvl1pPr algn="l"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285751" y="2331720"/>
            <a:ext cx="3225876" cy="819634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285751" y="3143001"/>
            <a:ext cx="2439865" cy="18395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685800" rtl="0" eaLnBrk="1" latinLnBrk="0" hangingPunct="1">
              <a:defRPr lang="en-US" sz="105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85751" y="3326959"/>
            <a:ext cx="2439865" cy="398015"/>
          </a:xfrm>
        </p:spPr>
        <p:txBody>
          <a:bodyPr/>
          <a:lstStyle>
            <a:lvl1pPr marL="0" indent="0" algn="l" defTabSz="685800" rtl="0" eaLnBrk="1" latinLnBrk="0" hangingPunct="1">
              <a:spcAft>
                <a:spcPts val="0"/>
              </a:spcAft>
              <a:buNone/>
              <a:defRPr lang="en-US" sz="105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685800" rtl="0" eaLnBrk="1" latinLnBrk="0" hangingPunct="1">
              <a:spcAft>
                <a:spcPts val="0"/>
              </a:spcAft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685800" rtl="0" eaLnBrk="1" latinLnBrk="0" hangingPunct="1">
              <a:spcAft>
                <a:spcPts val="0"/>
              </a:spcAft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685800" rtl="0" eaLnBrk="1" latinLnBrk="0" hangingPunct="1">
              <a:spcAft>
                <a:spcPts val="0"/>
              </a:spcAft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685800" rtl="0" eaLnBrk="1" latinLnBrk="0" hangingPunct="1">
              <a:spcAft>
                <a:spcPts val="0"/>
              </a:spcAft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99A6723-3F53-4981-840E-D1D62874F6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6977" y="4205858"/>
            <a:ext cx="481127" cy="528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0980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A7BAD11-2FE2-D47B-3D3B-A188DA71144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85749" y="238724"/>
            <a:ext cx="8572500" cy="258532"/>
          </a:xfrm>
          <a:prstGeom prst="rect">
            <a:avLst/>
          </a:prstGeom>
        </p:spPr>
        <p:txBody>
          <a:bodyPr vert="horz" lIns="0" tIns="91440" rIns="0" bIns="0" rtlCol="0" anchor="ctr">
            <a:spAutoFit/>
          </a:bodyPr>
          <a:lstStyle>
            <a:lvl1pPr marL="0" indent="0">
              <a:buNone/>
              <a:defRPr sz="1200" b="0" i="0">
                <a:latin typeface="Graphik Medium" panose="020B0603030202060203" pitchFamily="34" charset="0"/>
              </a:defRPr>
            </a:lvl1pPr>
          </a:lstStyle>
          <a:p>
            <a:pPr lvl="0"/>
            <a:r>
              <a:rPr lang="en-US"/>
              <a:t>Place subhead here (20pt, min 16pt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00F004-21B1-0627-39B3-2611E0E1E463}"/>
              </a:ext>
            </a:extLst>
          </p:cNvPr>
          <p:cNvSpPr/>
          <p:nvPr userDrawn="1"/>
        </p:nvSpPr>
        <p:spPr>
          <a:xfrm>
            <a:off x="0" y="0"/>
            <a:ext cx="9144000" cy="150876"/>
          </a:xfrm>
          <a:prstGeom prst="rect">
            <a:avLst/>
          </a:prstGeom>
          <a:gradFill>
            <a:gsLst>
              <a:gs pos="0">
                <a:srgbClr val="82F5D3"/>
              </a:gs>
              <a:gs pos="25000">
                <a:srgbClr val="87D1DA"/>
              </a:gs>
              <a:gs pos="75000">
                <a:srgbClr val="917CE8"/>
              </a:gs>
              <a:gs pos="49000">
                <a:srgbClr val="8DA5E2"/>
              </a:gs>
              <a:gs pos="100000">
                <a:srgbClr val="9C25F9"/>
              </a:gs>
            </a:gsLst>
            <a:lin ang="3000000" scaled="0"/>
          </a:gradFill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endParaRPr lang="en-US" sz="2700" b="1">
              <a:noFill/>
              <a:latin typeface="Graphik Semibold" panose="020B0503030202060203" pitchFamily="34" charset="77"/>
              <a:ea typeface="+mj-ea"/>
              <a:cs typeface="+mj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BB9822E-D45F-4DBC-D858-11C285376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79" y="555800"/>
            <a:ext cx="8572500" cy="615928"/>
          </a:xfrm>
        </p:spPr>
        <p:txBody>
          <a:bodyPr/>
          <a:lstStyle>
            <a:lvl1pPr>
              <a:defRPr sz="1875">
                <a:latin typeface="Graphik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C3B2F879-8121-3D33-DA22-A7D9A8FC5E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7340958" y="0"/>
            <a:ext cx="1517292" cy="285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AB2EFD1-1E30-B544-E530-182D95460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654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258763" y="249058"/>
            <a:ext cx="8623914" cy="317871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58763" y="1327354"/>
            <a:ext cx="8623914" cy="3202244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7938" indent="0">
              <a:tabLst/>
              <a:defRPr lang="en-US" dirty="0" smtClean="0"/>
            </a:lvl2pPr>
            <a:lvl3pPr marL="153984" indent="-153984">
              <a:tabLst/>
              <a:defRPr lang="en-US" b="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58763" y="566928"/>
            <a:ext cx="8623914" cy="393700"/>
          </a:xfrm>
        </p:spPr>
        <p:txBody>
          <a:bodyPr>
            <a:norm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1350" b="1" cap="all" spc="-150" baseline="0">
                <a:solidFill>
                  <a:srgbClr val="A100FF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7939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 - Body Slides - Cobrand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E24DB32-2AB3-5147-B501-B0EB71B80983}"/>
              </a:ext>
            </a:extLst>
          </p:cNvPr>
          <p:cNvSpPr/>
          <p:nvPr userDrawn="1"/>
        </p:nvSpPr>
        <p:spPr>
          <a:xfrm>
            <a:off x="0" y="41148"/>
            <a:ext cx="9144000" cy="795564"/>
          </a:xfrm>
          <a:prstGeom prst="rect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C7149F3-7EA2-4EE2-90F3-C366A5A169ED}"/>
              </a:ext>
            </a:extLst>
          </p:cNvPr>
          <p:cNvSpPr/>
          <p:nvPr userDrawn="1"/>
        </p:nvSpPr>
        <p:spPr>
          <a:xfrm>
            <a:off x="0" y="0"/>
            <a:ext cx="9144000" cy="79556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4DCD92E-C661-4F91-9289-C10D0E196A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2881" y="146306"/>
            <a:ext cx="8778239" cy="552973"/>
          </a:xfrm>
        </p:spPr>
        <p:txBody>
          <a:bodyPr>
            <a:noAutofit/>
          </a:bodyPr>
          <a:lstStyle>
            <a:lvl1pPr>
              <a:defRPr sz="2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27776022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751" y="285749"/>
            <a:ext cx="8572499" cy="74295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85750" y="1714500"/>
            <a:ext cx="2667000" cy="61722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8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85750" y="2331720"/>
            <a:ext cx="2667000" cy="2043983"/>
          </a:xfrm>
        </p:spPr>
        <p:txBody>
          <a:bodyPr/>
          <a:lstStyle>
            <a:lvl1pPr>
              <a:spcAft>
                <a:spcPts val="450"/>
              </a:spcAft>
              <a:defRPr sz="1350"/>
            </a:lvl1pPr>
            <a:lvl2pPr>
              <a:spcAft>
                <a:spcPts val="450"/>
              </a:spcAft>
              <a:defRPr sz="1350"/>
            </a:lvl2pPr>
            <a:lvl3pPr>
              <a:spcAft>
                <a:spcPts val="450"/>
              </a:spcAft>
              <a:defRPr sz="1350"/>
            </a:lvl3pPr>
            <a:lvl4pPr>
              <a:spcAft>
                <a:spcPts val="450"/>
              </a:spcAft>
              <a:defRPr sz="1200"/>
            </a:lvl4pPr>
            <a:lvl5pPr>
              <a:spcAft>
                <a:spcPts val="450"/>
              </a:spcAft>
              <a:defRPr sz="1200"/>
            </a:lvl5pPr>
            <a:lvl6pPr>
              <a:defRPr sz="9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285750" y="1371600"/>
            <a:ext cx="2667000" cy="3429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238500" y="1714500"/>
            <a:ext cx="2667000" cy="61722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8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3238500" y="2331720"/>
            <a:ext cx="2667000" cy="2043983"/>
          </a:xfrm>
        </p:spPr>
        <p:txBody>
          <a:bodyPr/>
          <a:lstStyle>
            <a:lvl1pPr>
              <a:spcAft>
                <a:spcPts val="450"/>
              </a:spcAft>
              <a:defRPr sz="1350"/>
            </a:lvl1pPr>
            <a:lvl2pPr>
              <a:spcAft>
                <a:spcPts val="450"/>
              </a:spcAft>
              <a:defRPr sz="1350"/>
            </a:lvl2pPr>
            <a:lvl3pPr>
              <a:spcAft>
                <a:spcPts val="450"/>
              </a:spcAft>
              <a:defRPr sz="1350"/>
            </a:lvl3pPr>
            <a:lvl4pPr>
              <a:spcAft>
                <a:spcPts val="450"/>
              </a:spcAft>
              <a:defRPr sz="1200"/>
            </a:lvl4pPr>
            <a:lvl5pPr>
              <a:spcAft>
                <a:spcPts val="450"/>
              </a:spcAft>
              <a:defRPr sz="1200"/>
            </a:lvl5pPr>
            <a:lvl6pPr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8335" lvl="5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238500" y="1371600"/>
            <a:ext cx="2667000" cy="3429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191250" y="1714500"/>
            <a:ext cx="2667000" cy="61722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8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6191250" y="2331720"/>
            <a:ext cx="2667000" cy="2043983"/>
          </a:xfrm>
        </p:spPr>
        <p:txBody>
          <a:bodyPr/>
          <a:lstStyle>
            <a:lvl1pPr>
              <a:spcAft>
                <a:spcPts val="450"/>
              </a:spcAft>
              <a:defRPr sz="1350"/>
            </a:lvl1pPr>
            <a:lvl2pPr>
              <a:spcAft>
                <a:spcPts val="450"/>
              </a:spcAft>
              <a:defRPr sz="1350"/>
            </a:lvl2pPr>
            <a:lvl3pPr>
              <a:spcAft>
                <a:spcPts val="450"/>
              </a:spcAft>
              <a:defRPr sz="1350"/>
            </a:lvl3pPr>
            <a:lvl4pPr>
              <a:spcAft>
                <a:spcPts val="450"/>
              </a:spcAft>
              <a:defRPr sz="1200"/>
            </a:lvl4pPr>
            <a:lvl5pPr>
              <a:spcAft>
                <a:spcPts val="450"/>
              </a:spcAft>
              <a:defRPr sz="1200"/>
            </a:lvl5pPr>
            <a:lvl6pPr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8335" lvl="5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191250" y="1371600"/>
            <a:ext cx="2667000" cy="3429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055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Long Headline and 1 Column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285750" y="285750"/>
            <a:ext cx="8572500" cy="742950"/>
          </a:xfrm>
        </p:spPr>
        <p:txBody>
          <a:bodyPr/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auto">
          <a:xfrm>
            <a:off x="285751" y="1028701"/>
            <a:ext cx="8572500" cy="3705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auto">
          <a:xfrm>
            <a:off x="5486400" y="4866175"/>
            <a:ext cx="3086100" cy="14873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6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171450">
              <a:spcAft>
                <a:spcPts val="900"/>
              </a:spcAft>
              <a:defRPr/>
            </a:pPr>
            <a:endParaRPr lang="en-GB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86102" y="4862757"/>
            <a:ext cx="137471" cy="150876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auto"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5183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751" y="285749"/>
            <a:ext cx="8572499" cy="599123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5750" y="925830"/>
            <a:ext cx="8572500" cy="288036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85750" y="1461896"/>
            <a:ext cx="4143375" cy="61722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8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85750" y="2079116"/>
            <a:ext cx="4143374" cy="2326404"/>
          </a:xfrm>
        </p:spPr>
        <p:txBody>
          <a:bodyPr/>
          <a:lstStyle>
            <a:lvl1pPr>
              <a:spcAft>
                <a:spcPts val="450"/>
              </a:spcAft>
              <a:defRPr sz="1350"/>
            </a:lvl1pPr>
            <a:lvl2pPr>
              <a:spcAft>
                <a:spcPts val="450"/>
              </a:spcAft>
              <a:defRPr sz="1350"/>
            </a:lvl2pPr>
            <a:lvl3pPr>
              <a:spcAft>
                <a:spcPts val="450"/>
              </a:spcAft>
              <a:defRPr sz="1350"/>
            </a:lvl3pPr>
            <a:lvl4pPr>
              <a:spcAft>
                <a:spcPts val="450"/>
              </a:spcAft>
              <a:defRPr sz="1200"/>
            </a:lvl4pPr>
            <a:lvl5pPr>
              <a:spcAft>
                <a:spcPts val="450"/>
              </a:spcAft>
              <a:defRPr sz="1200"/>
            </a:lvl5pPr>
            <a:lvl6pPr>
              <a:defRPr sz="9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714874" y="1461896"/>
            <a:ext cx="4143375" cy="61722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8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4714876" y="2079116"/>
            <a:ext cx="4143374" cy="2326404"/>
          </a:xfrm>
        </p:spPr>
        <p:txBody>
          <a:bodyPr/>
          <a:lstStyle>
            <a:lvl1pPr>
              <a:spcAft>
                <a:spcPts val="450"/>
              </a:spcAft>
              <a:defRPr sz="1350"/>
            </a:lvl1pPr>
            <a:lvl2pPr>
              <a:spcAft>
                <a:spcPts val="450"/>
              </a:spcAft>
              <a:defRPr sz="1350"/>
            </a:lvl2pPr>
            <a:lvl3pPr>
              <a:spcAft>
                <a:spcPts val="450"/>
              </a:spcAft>
              <a:defRPr sz="1350"/>
            </a:lvl3pPr>
            <a:lvl4pPr>
              <a:spcAft>
                <a:spcPts val="450"/>
              </a:spcAft>
              <a:defRPr sz="1200"/>
            </a:lvl4pPr>
            <a:lvl5pPr>
              <a:spcAft>
                <a:spcPts val="450"/>
              </a:spcAft>
              <a:defRPr sz="1200"/>
            </a:lvl5pPr>
            <a:lvl6pPr>
              <a:defRPr sz="9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</p:spTree>
    <p:extLst>
      <p:ext uri="{BB962C8B-B14F-4D97-AF65-F5344CB8AC3E}">
        <p14:creationId xmlns:p14="http://schemas.microsoft.com/office/powerpoint/2010/main" val="2686062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4 - Body Slides - Cobrand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E24DB32-2AB3-5147-B501-B0EB71B80983}"/>
              </a:ext>
            </a:extLst>
          </p:cNvPr>
          <p:cNvSpPr/>
          <p:nvPr userDrawn="1"/>
        </p:nvSpPr>
        <p:spPr>
          <a:xfrm>
            <a:off x="0" y="41148"/>
            <a:ext cx="9144000" cy="795564"/>
          </a:xfrm>
          <a:prstGeom prst="rect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C7149F3-7EA2-4EE2-90F3-C366A5A169ED}"/>
              </a:ext>
            </a:extLst>
          </p:cNvPr>
          <p:cNvSpPr/>
          <p:nvPr userDrawn="1"/>
        </p:nvSpPr>
        <p:spPr>
          <a:xfrm>
            <a:off x="0" y="0"/>
            <a:ext cx="9144000" cy="79556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4DCD92E-C661-4F91-9289-C10D0E196A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2881" y="146306"/>
            <a:ext cx="8778239" cy="552973"/>
          </a:xfrm>
        </p:spPr>
        <p:txBody>
          <a:bodyPr>
            <a:noAutofit/>
          </a:bodyPr>
          <a:lstStyle>
            <a:lvl1pPr>
              <a:defRPr sz="28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32278457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F8AB72-F014-B875-2AEF-87B59B438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401326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F8AB72-F014-B875-2AEF-87B59B438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6">
            <a:extLst>
              <a:ext uri="{FF2B5EF4-FFF2-40B4-BE49-F238E27FC236}">
                <a16:creationId xmlns:a16="http://schemas.microsoft.com/office/drawing/2014/main" id="{DE0AEF0A-947A-4B80-9CB2-99EC9F0E90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750" y="290705"/>
            <a:ext cx="8126148" cy="461838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lnSpc>
                <a:spcPct val="80000"/>
              </a:lnSpc>
              <a:defRPr sz="2400" b="0" i="0" cap="none" spc="-113">
                <a:solidFill>
                  <a:schemeClr val="accent3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Slide title goes here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CF11E57C-CE31-183E-27D3-FDD72D5D5A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2500" y="4857752"/>
            <a:ext cx="285751" cy="15588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marL="0" marR="0" indent="0" algn="r" defTabSz="17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 lang="en-US" sz="600" kern="1200" noProof="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D4B038FE-983B-45CF-B274-E59E41DCE8AD}" type="slidenum">
              <a:rPr lang="en-IN" smtClean="0"/>
              <a:pPr/>
              <a:t>‹N›</a:t>
            </a:fld>
            <a:endParaRPr lang="en-IN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2AADDC8-CA72-8D07-A09F-9F2B7296CDC0}"/>
              </a:ext>
            </a:extLst>
          </p:cNvPr>
          <p:cNvSpPr txBox="1">
            <a:spLocks/>
          </p:cNvSpPr>
          <p:nvPr userDrawn="1"/>
        </p:nvSpPr>
        <p:spPr>
          <a:xfrm>
            <a:off x="5486400" y="4866175"/>
            <a:ext cx="3086100" cy="14873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71450">
              <a:spcAft>
                <a:spcPts val="900"/>
              </a:spcAft>
              <a:defRPr/>
            </a:pPr>
            <a:r>
              <a:rPr lang="en-GB" sz="600">
                <a:solidFill>
                  <a:srgbClr val="000000">
                    <a:alpha val="75000"/>
                  </a:srgbClr>
                </a:solidFill>
                <a:latin typeface="Graphik"/>
              </a:rPr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092965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3" descr="Accenture Gradient Dark">
            <a:extLst>
              <a:ext uri="{FF2B5EF4-FFF2-40B4-BE49-F238E27FC236}">
                <a16:creationId xmlns:a16="http://schemas.microsoft.com/office/drawing/2014/main" id="{6EBBF745-0E3B-B63C-8FD3-472AA63845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 b="97084"/>
          <a:stretch/>
        </p:blipFill>
        <p:spPr bwMode="invGray">
          <a:xfrm>
            <a:off x="889" y="-1"/>
            <a:ext cx="9142223" cy="2049425"/>
          </a:xfrm>
          <a:prstGeom prst="rect">
            <a:avLst/>
          </a:prstGeom>
        </p:spPr>
      </p:pic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B708372-9CEB-1442-74EF-DD8D5D039A0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85750" y="2335174"/>
            <a:ext cx="8572500" cy="2395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5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Char char="•"/>
              <a:defRPr sz="15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Font typeface="Graphik" panose="020B0503030202060203" pitchFamily="34" charset="0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Graphik" panose="020B0503030202060203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35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Graphik" panose="020B0503030202060203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None/>
              <a:defRPr sz="7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None/>
              <a:defRPr sz="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CEE6C20-59C5-9C93-F2ED-6574425368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5750" y="1028700"/>
            <a:ext cx="8572500" cy="37020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5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Char char="•"/>
              <a:defRPr sz="15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Font typeface="Graphik" panose="020B0503030202060203" pitchFamily="34" charset="0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Graphik" panose="020B0503030202060203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5725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335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Graphik" panose="020B0503030202060203" pitchFamily="34" charset="0"/>
              <a:buNone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None/>
              <a:defRPr sz="7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None/>
              <a:defRPr sz="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  <a:endParaRPr lang="en-US" sz="1800">
              <a:solidFill>
                <a:srgbClr val="8DA5E2"/>
              </a:solidFill>
              <a:latin typeface="Graphik Light" panose="020B0403030202060203" pitchFamily="34" charset="77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7385B6C-9298-6654-E90D-DC596B126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285750"/>
            <a:ext cx="8572500" cy="74295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Place headline here (36pt, min 30pt)</a:t>
            </a:r>
            <a:endParaRPr lang="en-US">
              <a:gradFill>
                <a:gsLst>
                  <a:gs pos="0">
                    <a:srgbClr val="82F5D3"/>
                  </a:gs>
                  <a:gs pos="25000">
                    <a:srgbClr val="87D1DA"/>
                  </a:gs>
                  <a:gs pos="75000">
                    <a:srgbClr val="917CE8"/>
                  </a:gs>
                  <a:gs pos="49000">
                    <a:srgbClr val="8DA5E2"/>
                  </a:gs>
                  <a:gs pos="100000">
                    <a:srgbClr val="9C25F9"/>
                  </a:gs>
                </a:gsLst>
                <a:lin ang="3000000" scaled="0"/>
              </a:gradFill>
              <a:latin typeface="Graphik Semibold" panose="020B050303020206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456764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750" y="285750"/>
            <a:ext cx="4000500" cy="2000250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5750" y="2450726"/>
            <a:ext cx="3998214" cy="228319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171450" indent="-171450">
              <a:buFont typeface="Graphik" panose="020B0604020202020204" pitchFamily="34" charset="0"/>
              <a:buChar char="•"/>
              <a:defRPr sz="1350"/>
            </a:lvl2pPr>
            <a:lvl3pPr marL="342900">
              <a:buFont typeface="Graphik" panose="020B0503030202060203" pitchFamily="34" charset="0"/>
              <a:buChar char="–"/>
              <a:defRPr sz="1350"/>
            </a:lvl3pPr>
            <a:lvl4pPr marL="514350">
              <a:buFont typeface="Graphik" panose="020B0604020202020204" pitchFamily="34" charset="0"/>
              <a:buChar char="•"/>
              <a:defRPr sz="1200"/>
            </a:lvl4pPr>
            <a:lvl5pPr marL="685800">
              <a:buFont typeface="Graphik" panose="020B0503030202060203" pitchFamily="34" charset="0"/>
              <a:buChar char="–"/>
              <a:defRPr sz="1200"/>
            </a:lvl5pPr>
          </a:lstStyle>
          <a:p>
            <a:pPr lvl="0"/>
            <a:r>
              <a:rPr lang="en-US"/>
              <a:t>Place sub-headline </a:t>
            </a:r>
            <a:r>
              <a:rPr lang="en-GB"/>
              <a:t>here in GT Sectra Fine </a:t>
            </a:r>
            <a:r>
              <a:rPr lang="en-GB" err="1"/>
              <a:t>Rg</a:t>
            </a:r>
            <a:r>
              <a:rPr lang="en-GB"/>
              <a:t> 24pt</a:t>
            </a:r>
            <a:r>
              <a:rPr lang="en-US"/>
              <a:t>, indent for other levels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572000" y="1"/>
            <a:ext cx="4572000" cy="51434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Graphik" panose="020B0604020202020204" pitchFamily="34" charset="0"/>
              <a:buNone/>
              <a:defRPr lang="en-US" sz="105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Drag picture to placeholder or click icon to add, then ‘Send to Back’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6102" y="4862258"/>
            <a:ext cx="143315" cy="151005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86400" y="4866175"/>
            <a:ext cx="3086100" cy="14873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6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171450">
              <a:spcAft>
                <a:spcPts val="900"/>
              </a:spcAft>
              <a:defRPr/>
            </a:pPr>
            <a:endParaRPr lang="en-GB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A8120E1C-4C97-0B5F-9B1C-D79979319DA8}"/>
              </a:ext>
            </a:extLst>
          </p:cNvPr>
          <p:cNvSpPr txBox="1">
            <a:spLocks/>
          </p:cNvSpPr>
          <p:nvPr userDrawn="1"/>
        </p:nvSpPr>
        <p:spPr>
          <a:xfrm>
            <a:off x="8779905" y="4981819"/>
            <a:ext cx="192645" cy="150876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z="600" smtClean="0"/>
              <a:pPr/>
              <a:t>‹N›</a:t>
            </a:fld>
            <a:endParaRPr lang="en-US" sz="600"/>
          </a:p>
        </p:txBody>
      </p:sp>
    </p:spTree>
    <p:extLst>
      <p:ext uri="{BB962C8B-B14F-4D97-AF65-F5344CB8AC3E}">
        <p14:creationId xmlns:p14="http://schemas.microsoft.com/office/powerpoint/2010/main" val="1961139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751" y="285749"/>
            <a:ext cx="8572499" cy="599123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5750" y="925830"/>
            <a:ext cx="8572500" cy="288036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85750" y="1460754"/>
            <a:ext cx="4143374" cy="3271266"/>
          </a:xfrm>
        </p:spPr>
        <p:txBody>
          <a:bodyPr/>
          <a:lstStyle>
            <a:lvl1pPr>
              <a:spcAft>
                <a:spcPts val="450"/>
              </a:spcAft>
              <a:defRPr sz="1350"/>
            </a:lvl1pPr>
            <a:lvl2pPr>
              <a:spcAft>
                <a:spcPts val="450"/>
              </a:spcAft>
              <a:defRPr sz="1350"/>
            </a:lvl2pPr>
            <a:lvl3pPr>
              <a:spcAft>
                <a:spcPts val="450"/>
              </a:spcAft>
              <a:defRPr sz="1350"/>
            </a:lvl3pPr>
            <a:lvl4pPr>
              <a:spcAft>
                <a:spcPts val="450"/>
              </a:spcAft>
              <a:defRPr sz="1200"/>
            </a:lvl4pPr>
            <a:lvl5pPr>
              <a:spcAft>
                <a:spcPts val="450"/>
              </a:spcAft>
              <a:defRPr sz="1200"/>
            </a:lvl5pPr>
            <a:lvl6pPr>
              <a:defRPr sz="9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4714876" y="1460754"/>
            <a:ext cx="4143374" cy="3271266"/>
          </a:xfrm>
        </p:spPr>
        <p:txBody>
          <a:bodyPr/>
          <a:lstStyle>
            <a:lvl1pPr>
              <a:spcAft>
                <a:spcPts val="450"/>
              </a:spcAft>
              <a:defRPr sz="1350"/>
            </a:lvl1pPr>
            <a:lvl2pPr>
              <a:spcAft>
                <a:spcPts val="450"/>
              </a:spcAft>
              <a:defRPr sz="1350"/>
            </a:lvl2pPr>
            <a:lvl3pPr>
              <a:spcAft>
                <a:spcPts val="450"/>
              </a:spcAft>
              <a:defRPr sz="1350"/>
            </a:lvl3pPr>
            <a:lvl4pPr>
              <a:spcAft>
                <a:spcPts val="450"/>
              </a:spcAft>
              <a:defRPr sz="1200"/>
            </a:lvl4pPr>
            <a:lvl5pPr>
              <a:spcAft>
                <a:spcPts val="450"/>
              </a:spcAft>
              <a:defRPr sz="1200"/>
            </a:lvl5pPr>
            <a:lvl6pPr>
              <a:defRPr sz="9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C21C15-B97B-9167-DA9A-F2E890B0CBE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665605" y="4867519"/>
            <a:ext cx="192645" cy="150876"/>
          </a:xfrm>
        </p:spPr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288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750" y="285750"/>
            <a:ext cx="8572500" cy="742950"/>
          </a:xfrm>
        </p:spPr>
        <p:txBody>
          <a:bodyPr/>
          <a:lstStyle>
            <a:lvl1pPr>
              <a:defRPr sz="27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5751" y="1028701"/>
            <a:ext cx="8572500" cy="3705225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1338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4D827F-8C3A-AB43-8848-54ABF057C7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649" y="291893"/>
            <a:ext cx="8281118" cy="346249"/>
          </a:xfrm>
        </p:spPr>
        <p:txBody>
          <a:bodyPr/>
          <a:lstStyle>
            <a:lvl1pPr algn="l">
              <a:defRPr sz="2250"/>
            </a:lvl1pPr>
          </a:lstStyle>
          <a:p>
            <a:r>
              <a:rPr lang="en-GB"/>
              <a:t>One column text 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378C59-CA18-B245-A4A4-18FDF719DB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85800"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08A8BA13-8D10-1042-A1F6-9889FA69AC3F}" type="slidenum">
              <a:rPr lang="en-US" smtClean="0">
                <a:solidFill>
                  <a:srgbClr val="000000"/>
                </a:solidFill>
              </a:rPr>
              <a:pPr defTabSz="685800">
                <a:defRPr/>
              </a:pPr>
              <a:t>‹N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978DE3-8016-F94A-8C63-A61A8A18E077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7340958" y="0"/>
            <a:ext cx="1517292" cy="285750"/>
          </a:xfrm>
          <a:prstGeom prst="rect">
            <a:avLst/>
          </a:prstGeom>
        </p:spPr>
        <p:txBody>
          <a:bodyPr/>
          <a:lstStyle/>
          <a:p>
            <a:pPr algn="r" defTabSz="685800">
              <a:defRPr/>
            </a:pPr>
            <a:endParaRPr lang="en-US" sz="600">
              <a:solidFill>
                <a:srgbClr val="000000">
                  <a:alpha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920697-A4B6-C842-A701-F36D5FD07A6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85800">
              <a:defRPr/>
            </a:pPr>
            <a:endParaRPr lang="en-US" sz="1350">
              <a:solidFill>
                <a:srgbClr val="000000"/>
              </a:solidFill>
            </a:endParaRP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4726D94-8D0F-F943-8C87-82816C33B622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6649" y="1251479"/>
            <a:ext cx="8572500" cy="3272030"/>
          </a:xfrm>
        </p:spPr>
        <p:txBody>
          <a:bodyPr/>
          <a:lstStyle/>
          <a:p>
            <a:pPr lvl="0"/>
            <a:r>
              <a:rPr lang="en-GB"/>
              <a:t>First level (bold 14pt)</a:t>
            </a:r>
          </a:p>
          <a:p>
            <a:pPr lvl="2"/>
            <a:r>
              <a:rPr lang="en-GB"/>
              <a:t>Third level (bullet 14pt)</a:t>
            </a:r>
          </a:p>
          <a:p>
            <a:pPr lvl="3"/>
            <a:r>
              <a:rPr lang="en-GB"/>
              <a:t>Fourth level (bullet 14pt)</a:t>
            </a:r>
          </a:p>
          <a:p>
            <a:pPr lvl="4"/>
            <a:r>
              <a:rPr lang="en-GB"/>
              <a:t>Fifth level (bullet 12pt)</a:t>
            </a:r>
          </a:p>
        </p:txBody>
      </p:sp>
    </p:spTree>
    <p:extLst>
      <p:ext uri="{BB962C8B-B14F-4D97-AF65-F5344CB8AC3E}">
        <p14:creationId xmlns:p14="http://schemas.microsoft.com/office/powerpoint/2010/main" val="1861179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6DB689C-7DB3-4046-A1BF-E63F8EF784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750" y="285750"/>
            <a:ext cx="8572500" cy="742950"/>
          </a:xfrm>
        </p:spPr>
        <p:txBody>
          <a:bodyPr/>
          <a:lstStyle>
            <a:lvl1pPr>
              <a:defRPr sz="27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87C97B1E-CB9E-4CBC-A6F1-1D4F2E4ECB3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5751" y="1028700"/>
            <a:ext cx="8572500" cy="3705225"/>
          </a:xfrm>
        </p:spPr>
        <p:txBody>
          <a:bodyPr/>
          <a:lstStyle>
            <a:lvl1pPr marL="171450" indent="-171450">
              <a:buFont typeface="Graphik" panose="020B0604020202020204" pitchFamily="34" charset="0"/>
              <a:buChar char="•"/>
              <a:defRPr/>
            </a:lvl1pPr>
            <a:lvl2pPr marL="342900">
              <a:defRPr/>
            </a:lvl2pPr>
            <a:lvl3pPr marL="514350">
              <a:defRPr/>
            </a:lvl3pPr>
            <a:lvl4pPr marL="685800">
              <a:defRPr/>
            </a:lvl4pPr>
            <a:lvl5pPr marL="857250">
              <a:defRPr/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18270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B47006-44A9-4BAE-B774-022A0EEB3E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6" imgH="396" progId="TCLayout.ActiveDocument.1">
                  <p:embed/>
                </p:oleObj>
              </mc:Choice>
              <mc:Fallback>
                <p:oleObj name="think-cell Slide" r:id="rId3" imgW="396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7B47006-44A9-4BAE-B774-022A0EEB3E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85750" y="285751"/>
            <a:ext cx="8572500" cy="580586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>
            <a:lvl1pPr marL="0" marR="0" indent="0" algn="l" defTabSz="130097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25"/>
            </a:lvl1pPr>
          </a:lstStyle>
          <a:p>
            <a:pPr marL="0" marR="0" lvl="0" indent="0" algn="l" defTabSz="130097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25" b="1" i="0" u="none" strike="noStrike" kern="1200" cap="all" spc="-7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rPr>
              <a:t>Accenture </a:t>
            </a:r>
            <a:r>
              <a:rPr kumimoji="0" lang="en-US" sz="2025" b="0" i="0" u="none" strike="noStrike" kern="1200" cap="all" spc="-7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rPr>
              <a:t>| </a:t>
            </a:r>
            <a:r>
              <a:rPr kumimoji="0" lang="en-US" sz="2025" b="0" i="0" u="none" strike="noStrike" kern="1200" cap="all" spc="-75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raphik" panose="020B0503030202060203" pitchFamily="34" charset="77"/>
                <a:ea typeface="+mn-ea"/>
                <a:cs typeface="+mn-cs"/>
              </a:rPr>
              <a:t>xyz</a:t>
            </a:r>
            <a:endParaRPr kumimoji="0" lang="en-US" sz="2025" b="0" i="0" u="none" strike="noStrike" kern="1200" cap="all" spc="-75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raphik" panose="020B0503030202060203" pitchFamily="34" charset="77"/>
              <a:ea typeface="+mn-ea"/>
              <a:cs typeface="+mn-cs"/>
            </a:endParaRPr>
          </a:p>
        </p:txBody>
      </p:sp>
      <p:sp>
        <p:nvSpPr>
          <p:cNvPr id="8" name="Textplatzhalter 2"/>
          <p:cNvSpPr>
            <a:spLocks noGrp="1"/>
          </p:cNvSpPr>
          <p:nvPr>
            <p:ph type="body" idx="13"/>
          </p:nvPr>
        </p:nvSpPr>
        <p:spPr>
          <a:xfrm>
            <a:off x="285750" y="866338"/>
            <a:ext cx="8572500" cy="422240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1500" b="1" dirty="0" smtClean="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marL="132157" lvl="0" indent="-132157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4A0F2245-AF2C-8FA8-9C9F-9ABE4BA758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3559" y="4867519"/>
            <a:ext cx="244691" cy="150876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1F90F471-3972-4120-B8B3-0237DE626C35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8925F73-C949-9CE5-FF06-70B6D8C732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86400" y="4866175"/>
            <a:ext cx="3086100" cy="14873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6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171450">
              <a:spcAft>
                <a:spcPts val="900"/>
              </a:spcAft>
              <a:defRPr/>
            </a:pP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A052A5-51E0-7A42-4226-7F85533E40A9}"/>
              </a:ext>
            </a:extLst>
          </p:cNvPr>
          <p:cNvSpPr/>
          <p:nvPr userDrawn="1"/>
        </p:nvSpPr>
        <p:spPr>
          <a:xfrm>
            <a:off x="0" y="0"/>
            <a:ext cx="9144000" cy="150876"/>
          </a:xfrm>
          <a:prstGeom prst="rect">
            <a:avLst/>
          </a:prstGeom>
          <a:gradFill>
            <a:gsLst>
              <a:gs pos="0">
                <a:srgbClr val="82F5D3"/>
              </a:gs>
              <a:gs pos="25000">
                <a:srgbClr val="87D1DA"/>
              </a:gs>
              <a:gs pos="75000">
                <a:srgbClr val="917CE8"/>
              </a:gs>
              <a:gs pos="49000">
                <a:srgbClr val="8DA5E2"/>
              </a:gs>
              <a:gs pos="100000">
                <a:srgbClr val="9C25F9"/>
              </a:gs>
            </a:gsLst>
            <a:lin ang="3000000" scaled="0"/>
          </a:gradFill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endParaRPr lang="en-US" sz="2700" b="1">
              <a:noFill/>
              <a:latin typeface="Graphik Semibold" panose="020B0503030202060203" pitchFamily="34" charset="77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1945682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Long Headlin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363034-F9EC-4A95-91E0-2E80197493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F77ADC1-6931-47B6-AF28-D1C74D5BB4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86400" y="4866175"/>
            <a:ext cx="3086100" cy="14873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6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171450">
              <a:spcAft>
                <a:spcPts val="900"/>
              </a:spcAft>
              <a:defRPr/>
            </a:pPr>
            <a:endParaRPr lang="en-GB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CCEE6C20-59C5-9C93-F2ED-6574425368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5750" y="1282616"/>
            <a:ext cx="8572500" cy="34481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5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Char char="•"/>
              <a:defRPr sz="1500" b="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1pPr>
            <a:lvl2pPr marL="34290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Font typeface="Graphik" panose="020B0503030202060203" pitchFamily="34" charset="0"/>
              <a:buChar char="–"/>
              <a:defRPr sz="15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2pPr>
            <a:lvl3pPr marL="51435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3pPr>
            <a:lvl4pPr marL="68580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Graphik" panose="020B0503030202060203" pitchFamily="34" charset="0"/>
              <a:buChar char="–"/>
              <a:defRPr sz="135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4pPr>
            <a:lvl5pPr marL="857250" indent="-171450" algn="l" defTabSz="1714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5pPr>
            <a:lvl6pPr marL="8335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Graphik" panose="020B0503030202060203" pitchFamily="34" charset="0"/>
              <a:buNone/>
              <a:tabLst/>
              <a:defRPr sz="12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6pPr>
            <a:lvl7pPr marL="0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None/>
              <a:defRPr sz="9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7pPr>
            <a:lvl8pPr marL="0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None/>
              <a:defRPr sz="750" b="1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8pPr>
            <a:lvl9pPr marL="0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Font typeface="Graphik" panose="020B0604020202020204" pitchFamily="34" charset="0"/>
              <a:buNone/>
              <a:defRPr sz="600" kern="1200">
                <a:solidFill>
                  <a:schemeClr val="tx2"/>
                </a:solidFill>
                <a:latin typeface="Graphik Light" panose="020B0403030202060203" pitchFamily="34" charset="0"/>
                <a:ea typeface="+mn-ea"/>
                <a:cs typeface="+mn-cs"/>
              </a:defRPr>
            </a:lvl9pPr>
          </a:lstStyle>
          <a:p>
            <a:r>
              <a:rPr lang="en-US"/>
              <a:t>First level (bullet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  <a:endParaRPr lang="en-US" sz="1800">
              <a:solidFill>
                <a:srgbClr val="8DA5E2"/>
              </a:solidFill>
              <a:latin typeface="Graphik-Light" panose="020B0403030202060203" pitchFamily="34" charset="77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7385B6C-9298-6654-E90D-DC596B1269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626921"/>
            <a:ext cx="8572500" cy="65569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6858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Graphik Semibold" panose="020B07030302020602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Place headline here (36pt, min 30pt)</a:t>
            </a:r>
            <a:endParaRPr lang="en-US">
              <a:gradFill>
                <a:gsLst>
                  <a:gs pos="0">
                    <a:srgbClr val="82F5D3"/>
                  </a:gs>
                  <a:gs pos="25000">
                    <a:srgbClr val="87D1DA"/>
                  </a:gs>
                  <a:gs pos="75000">
                    <a:srgbClr val="917CE8"/>
                  </a:gs>
                  <a:gs pos="49000">
                    <a:srgbClr val="8DA5E2"/>
                  </a:gs>
                  <a:gs pos="100000">
                    <a:srgbClr val="9C25F9"/>
                  </a:gs>
                </a:gsLst>
                <a:lin ang="3000000" scaled="0"/>
              </a:gradFill>
              <a:latin typeface="Graphik-SemiboldItalic" panose="020B0503030202060203" pitchFamily="34" charset="77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78D8779-497E-01C2-F495-09BDBD7A7160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285749" y="261941"/>
            <a:ext cx="8572500" cy="258532"/>
          </a:xfrm>
          <a:prstGeom prst="rect">
            <a:avLst/>
          </a:prstGeom>
        </p:spPr>
        <p:txBody>
          <a:bodyPr vert="horz" lIns="0" tIns="91440" rIns="0" bIns="0" rtlCol="0">
            <a:spAutoFit/>
          </a:bodyPr>
          <a:lstStyle>
            <a:lvl1pPr marL="0" indent="0">
              <a:buNone/>
              <a:defRPr sz="1200" b="0" i="0">
                <a:solidFill>
                  <a:schemeClr val="accent1"/>
                </a:solidFill>
                <a:latin typeface="Graphik Medium" panose="020B0603030202060203" pitchFamily="34" charset="0"/>
              </a:defRPr>
            </a:lvl1pPr>
          </a:lstStyle>
          <a:p>
            <a:pPr lvl="0"/>
            <a:r>
              <a:rPr lang="en-US"/>
              <a:t>Place subhead here (20pt, min 16pt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8CA8792-698F-31B3-69ED-0D74811B291C}"/>
              </a:ext>
            </a:extLst>
          </p:cNvPr>
          <p:cNvSpPr/>
          <p:nvPr userDrawn="1"/>
        </p:nvSpPr>
        <p:spPr>
          <a:xfrm>
            <a:off x="0" y="0"/>
            <a:ext cx="9144000" cy="150876"/>
          </a:xfrm>
          <a:prstGeom prst="rect">
            <a:avLst/>
          </a:prstGeom>
          <a:gradFill>
            <a:gsLst>
              <a:gs pos="0">
                <a:srgbClr val="82F5D3"/>
              </a:gs>
              <a:gs pos="25000">
                <a:srgbClr val="87D1DA"/>
              </a:gs>
              <a:gs pos="75000">
                <a:srgbClr val="917CE8"/>
              </a:gs>
              <a:gs pos="49000">
                <a:srgbClr val="8DA5E2"/>
              </a:gs>
              <a:gs pos="100000">
                <a:srgbClr val="9C25F9"/>
              </a:gs>
            </a:gsLst>
            <a:lin ang="3000000" scaled="0"/>
          </a:gradFill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endParaRPr lang="en-US" sz="2700" b="1">
              <a:noFill/>
              <a:latin typeface="Graphik Semibold" panose="020B0503030202060203" pitchFamily="34" charset="77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77280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: White2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8" descr="Background image placeholder">
            <a:extLst>
              <a:ext uri="{FF2B5EF4-FFF2-40B4-BE49-F238E27FC236}">
                <a16:creationId xmlns:a16="http://schemas.microsoft.com/office/drawing/2014/main" id="{0449E654-6B6A-44E6-852C-967C3EDDCA2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5715" y="-6858"/>
            <a:ext cx="9155430" cy="5157216"/>
          </a:xfrm>
        </p:spPr>
        <p:txBody>
          <a:bodyPr lIns="0" tIns="182880"/>
          <a:lstStyle>
            <a:lvl1pPr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Drag picture to placeholder or click icon to add, then send to back.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285751" y="285751"/>
            <a:ext cx="4286250" cy="1857374"/>
          </a:xfrm>
        </p:spPr>
        <p:txBody>
          <a:bodyPr anchor="b"/>
          <a:lstStyle>
            <a:lvl1pPr algn="l">
              <a:lnSpc>
                <a:spcPct val="9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285751" y="2331720"/>
            <a:ext cx="3225876" cy="819634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i="0" spc="0">
                <a:solidFill>
                  <a:schemeClr val="bg1"/>
                </a:solidFill>
                <a:latin typeface="GT Sectra Fine Rg" panose="00000500000000000000" pitchFamily="50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Graphik" panose="020B0604020202020204" pitchFamily="34" charset="0"/>
              <a:buNone/>
            </a:pPr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4pt</a:t>
            </a:r>
            <a:endParaRPr lang="en-US"/>
          </a:p>
        </p:txBody>
      </p:sp>
      <p:sp>
        <p:nvSpPr>
          <p:cNvPr id="12" name="Date Placeholder 10">
            <a:extLst>
              <a:ext uri="{FF2B5EF4-FFF2-40B4-BE49-F238E27FC236}">
                <a16:creationId xmlns:a16="http://schemas.microsoft.com/office/drawing/2014/main" id="{1E34DA31-8586-4EF2-9474-E9CBCF3131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white">
          <a:xfrm>
            <a:off x="285751" y="3143001"/>
            <a:ext cx="2439865" cy="18395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marL="0" algn="l" defTabSz="685800" rtl="0" eaLnBrk="1" latinLnBrk="0" hangingPunct="1">
              <a:defRPr lang="en-US" sz="105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B2BDB7F4-6E1D-4904-AD31-0A33E91A2E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85751" y="3326959"/>
            <a:ext cx="2439865" cy="398015"/>
          </a:xfrm>
        </p:spPr>
        <p:txBody>
          <a:bodyPr/>
          <a:lstStyle>
            <a:lvl1pPr marL="0" indent="0" algn="l" defTabSz="685800" rtl="0" eaLnBrk="1" latinLnBrk="0" hangingPunct="1">
              <a:spcAft>
                <a:spcPts val="0"/>
              </a:spcAft>
              <a:buNone/>
              <a:defRPr lang="en-US" sz="105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685800" rtl="0" eaLnBrk="1" latinLnBrk="0" hangingPunct="1">
              <a:spcAft>
                <a:spcPts val="0"/>
              </a:spcAft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l" defTabSz="685800" rtl="0" eaLnBrk="1" latinLnBrk="0" hangingPunct="1">
              <a:spcAft>
                <a:spcPts val="0"/>
              </a:spcAft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l" defTabSz="685800" rtl="0" eaLnBrk="1" latinLnBrk="0" hangingPunct="1">
              <a:spcAft>
                <a:spcPts val="0"/>
              </a:spcAft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l" defTabSz="685800" rtl="0" eaLnBrk="1" latinLnBrk="0" hangingPunct="1">
              <a:spcAft>
                <a:spcPts val="0"/>
              </a:spcAft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Presenter 14pt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299A6723-3F53-4981-840E-D1D62874F6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6977" y="4205858"/>
            <a:ext cx="481127" cy="528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6530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lumns 3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751" y="285749"/>
            <a:ext cx="8572499" cy="742952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85750" y="1714500"/>
            <a:ext cx="2667000" cy="61722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8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BA4C27-1C65-4465-A8B1-ACE92701B4D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85750" y="2331720"/>
            <a:ext cx="2667000" cy="2043983"/>
          </a:xfrm>
        </p:spPr>
        <p:txBody>
          <a:bodyPr/>
          <a:lstStyle>
            <a:lvl1pPr>
              <a:spcAft>
                <a:spcPts val="450"/>
              </a:spcAft>
              <a:defRPr sz="1350"/>
            </a:lvl1pPr>
            <a:lvl2pPr>
              <a:spcAft>
                <a:spcPts val="450"/>
              </a:spcAft>
              <a:defRPr sz="1350"/>
            </a:lvl2pPr>
            <a:lvl3pPr>
              <a:spcAft>
                <a:spcPts val="450"/>
              </a:spcAft>
              <a:defRPr sz="1350"/>
            </a:lvl3pPr>
            <a:lvl4pPr>
              <a:spcAft>
                <a:spcPts val="450"/>
              </a:spcAft>
              <a:defRPr sz="1200"/>
            </a:lvl4pPr>
            <a:lvl5pPr>
              <a:spcAft>
                <a:spcPts val="450"/>
              </a:spcAft>
              <a:defRPr sz="1200"/>
            </a:lvl5pPr>
            <a:lvl6pPr>
              <a:defRPr sz="900"/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341109-26F6-4227-8890-EA8EB1C0EBB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285750" y="1371600"/>
            <a:ext cx="2667000" cy="3429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5274935-A310-47A1-ACB7-150C9A4CCBD8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3238500" y="1714500"/>
            <a:ext cx="2667000" cy="61722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8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DB26F5FE-8482-4C00-99C1-3FC3BEEE82C8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3238500" y="2331720"/>
            <a:ext cx="2667000" cy="2043983"/>
          </a:xfrm>
        </p:spPr>
        <p:txBody>
          <a:bodyPr/>
          <a:lstStyle>
            <a:lvl1pPr>
              <a:spcAft>
                <a:spcPts val="450"/>
              </a:spcAft>
              <a:defRPr sz="1350"/>
            </a:lvl1pPr>
            <a:lvl2pPr>
              <a:spcAft>
                <a:spcPts val="450"/>
              </a:spcAft>
              <a:defRPr sz="1350"/>
            </a:lvl2pPr>
            <a:lvl3pPr>
              <a:spcAft>
                <a:spcPts val="450"/>
              </a:spcAft>
              <a:defRPr sz="1350"/>
            </a:lvl3pPr>
            <a:lvl4pPr>
              <a:spcAft>
                <a:spcPts val="450"/>
              </a:spcAft>
              <a:defRPr sz="1200"/>
            </a:lvl4pPr>
            <a:lvl5pPr>
              <a:spcAft>
                <a:spcPts val="450"/>
              </a:spcAft>
              <a:defRPr sz="1200"/>
            </a:lvl5pPr>
            <a:lvl6pPr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8335" lvl="5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F91AD4F-1A63-495D-A741-37A4A9D585AA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3238500" y="1371600"/>
            <a:ext cx="2667000" cy="3429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B33E71D-D540-47A3-B3BA-2FFF7F53FF11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6191250" y="1714500"/>
            <a:ext cx="2667000" cy="61722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8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Place headline here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CBA38EFA-DE92-462D-AAF3-DE465A478568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>
          <a:xfrm>
            <a:off x="6191250" y="2331720"/>
            <a:ext cx="2667000" cy="2043983"/>
          </a:xfrm>
        </p:spPr>
        <p:txBody>
          <a:bodyPr/>
          <a:lstStyle>
            <a:lvl1pPr>
              <a:spcAft>
                <a:spcPts val="450"/>
              </a:spcAft>
              <a:defRPr sz="1350"/>
            </a:lvl1pPr>
            <a:lvl2pPr>
              <a:spcAft>
                <a:spcPts val="450"/>
              </a:spcAft>
              <a:defRPr sz="1350"/>
            </a:lvl2pPr>
            <a:lvl3pPr>
              <a:spcAft>
                <a:spcPts val="450"/>
              </a:spcAft>
              <a:defRPr sz="1350"/>
            </a:lvl3pPr>
            <a:lvl4pPr>
              <a:spcAft>
                <a:spcPts val="450"/>
              </a:spcAft>
              <a:defRPr sz="1200"/>
            </a:lvl4pPr>
            <a:lvl5pPr>
              <a:spcAft>
                <a:spcPts val="450"/>
              </a:spcAft>
              <a:defRPr sz="1200"/>
            </a:lvl5pPr>
            <a:lvl6pPr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marL="8335" lvl="5" indent="0" algn="l" defTabSz="1714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900"/>
              </a:spcAft>
              <a:buFont typeface="Graphik" panose="020B0503030202060203" pitchFamily="34" charset="0"/>
              <a:buNone/>
              <a:tabLst/>
            </a:pPr>
            <a:r>
              <a:rPr lang="en-US"/>
              <a:t>Six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F1B026-22B9-4DC5-B7C8-C26593A206F4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6191250" y="1371600"/>
            <a:ext cx="2667000" cy="342900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 sz="1800" b="1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GB"/>
              <a:t>#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431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A7BAD11-2FE2-D47B-3D3B-A188DA71144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85749" y="238724"/>
            <a:ext cx="8572500" cy="258532"/>
          </a:xfrm>
          <a:prstGeom prst="rect">
            <a:avLst/>
          </a:prstGeom>
        </p:spPr>
        <p:txBody>
          <a:bodyPr vert="horz" lIns="0" tIns="91440" rIns="0" bIns="0" rtlCol="0" anchor="ctr">
            <a:spAutoFit/>
          </a:bodyPr>
          <a:lstStyle>
            <a:lvl1pPr marL="0" indent="0">
              <a:buNone/>
              <a:defRPr sz="1200" b="0" i="0">
                <a:latin typeface="Graphik Medium" panose="020B0603030202060203" pitchFamily="34" charset="0"/>
              </a:defRPr>
            </a:lvl1pPr>
          </a:lstStyle>
          <a:p>
            <a:pPr lvl="0"/>
            <a:r>
              <a:rPr lang="en-US"/>
              <a:t>Place subhead here (20pt, min 16pt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400F004-21B1-0627-39B3-2611E0E1E463}"/>
              </a:ext>
            </a:extLst>
          </p:cNvPr>
          <p:cNvSpPr/>
          <p:nvPr userDrawn="1"/>
        </p:nvSpPr>
        <p:spPr>
          <a:xfrm>
            <a:off x="0" y="0"/>
            <a:ext cx="9144000" cy="150876"/>
          </a:xfrm>
          <a:prstGeom prst="rect">
            <a:avLst/>
          </a:prstGeom>
          <a:gradFill>
            <a:gsLst>
              <a:gs pos="0">
                <a:srgbClr val="82F5D3"/>
              </a:gs>
              <a:gs pos="25000">
                <a:srgbClr val="87D1DA"/>
              </a:gs>
              <a:gs pos="75000">
                <a:srgbClr val="917CE8"/>
              </a:gs>
              <a:gs pos="49000">
                <a:srgbClr val="8DA5E2"/>
              </a:gs>
              <a:gs pos="100000">
                <a:srgbClr val="9C25F9"/>
              </a:gs>
            </a:gsLst>
            <a:lin ang="3000000" scaled="0"/>
          </a:gradFill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</a:pPr>
            <a:endParaRPr lang="en-US" sz="2700" b="1">
              <a:noFill/>
              <a:latin typeface="Graphik Semibold" panose="020B0503030202060203" pitchFamily="34" charset="77"/>
              <a:ea typeface="+mj-ea"/>
              <a:cs typeface="+mj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BB9822E-D45F-4DBC-D858-11C285376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779" y="555800"/>
            <a:ext cx="8572500" cy="615928"/>
          </a:xfrm>
        </p:spPr>
        <p:txBody>
          <a:bodyPr/>
          <a:lstStyle>
            <a:lvl1pPr>
              <a:defRPr sz="1875">
                <a:latin typeface="Graphik Semibold" panose="020B07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C3B2F879-8121-3D33-DA22-A7D9A8FC5EE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7340958" y="0"/>
            <a:ext cx="1517292" cy="285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5AB2EFD1-1E30-B544-E530-182D95460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408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tito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45338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tito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4553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apositiva tito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4057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apositiva tito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9294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apositiva tito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2684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apositiva tito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6783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apositiva tito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332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apositiva tito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9329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apositiva tito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098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Long Headline and 1 Column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6D4EA4B-84F0-4EB3-B6B4-6EAB903D2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285750" y="285750"/>
            <a:ext cx="8572500" cy="742950"/>
          </a:xfrm>
        </p:spPr>
        <p:txBody>
          <a:bodyPr/>
          <a:lstStyle>
            <a:lvl1pPr>
              <a:defRPr sz="2700">
                <a:solidFill>
                  <a:schemeClr val="bg1"/>
                </a:solidFill>
              </a:defRPr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5" name="Content Placeholder 7">
            <a:extLst>
              <a:ext uri="{FF2B5EF4-FFF2-40B4-BE49-F238E27FC236}">
                <a16:creationId xmlns:a16="http://schemas.microsoft.com/office/drawing/2014/main" id="{6DFCE48E-1DF3-48D6-BD43-BA3B9CE95A0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auto">
          <a:xfrm>
            <a:off x="285751" y="1028701"/>
            <a:ext cx="8572500" cy="37052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3646097A-7916-4EBE-A526-09FCBD84F6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auto">
          <a:xfrm>
            <a:off x="5486400" y="4866175"/>
            <a:ext cx="3086100" cy="14873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6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171450">
              <a:spcAft>
                <a:spcPts val="900"/>
              </a:spcAft>
              <a:defRPr/>
            </a:pPr>
            <a:endParaRPr lang="en-GB"/>
          </a:p>
        </p:txBody>
      </p:sp>
      <p:sp>
        <p:nvSpPr>
          <p:cNvPr id="11" name="GTS_WH" descr="Accenture Greater Than symbol in white">
            <a:extLst>
              <a:ext uri="{FF2B5EF4-FFF2-40B4-BE49-F238E27FC236}">
                <a16:creationId xmlns:a16="http://schemas.microsoft.com/office/drawing/2014/main" id="{5EFDEB3F-4743-43EA-A121-ED3CB6054C7F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286102" y="4862757"/>
            <a:ext cx="137471" cy="150876"/>
          </a:xfrm>
          <a:custGeom>
            <a:avLst/>
            <a:gdLst>
              <a:gd name="T0" fmla="*/ 0 w 4100"/>
              <a:gd name="T1" fmla="*/ 4500 h 4500"/>
              <a:gd name="T2" fmla="*/ 4100 w 4100"/>
              <a:gd name="T3" fmla="*/ 2837 h 4500"/>
              <a:gd name="T4" fmla="*/ 4100 w 4100"/>
              <a:gd name="T5" fmla="*/ 1663 h 4500"/>
              <a:gd name="T6" fmla="*/ 0 w 4100"/>
              <a:gd name="T7" fmla="*/ 0 h 4500"/>
              <a:gd name="T8" fmla="*/ 0 w 4100"/>
              <a:gd name="T9" fmla="*/ 1175 h 4500"/>
              <a:gd name="T10" fmla="*/ 2651 w 4100"/>
              <a:gd name="T11" fmla="*/ 2250 h 4500"/>
              <a:gd name="T12" fmla="*/ 0 w 4100"/>
              <a:gd name="T13" fmla="*/ 3325 h 4500"/>
              <a:gd name="T14" fmla="*/ 0 w 4100"/>
              <a:gd name="T15" fmla="*/ 4500 h 4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100" h="4500">
                <a:moveTo>
                  <a:pt x="0" y="4500"/>
                </a:moveTo>
                <a:lnTo>
                  <a:pt x="4100" y="2837"/>
                </a:lnTo>
                <a:lnTo>
                  <a:pt x="4100" y="1663"/>
                </a:lnTo>
                <a:lnTo>
                  <a:pt x="0" y="0"/>
                </a:lnTo>
                <a:lnTo>
                  <a:pt x="0" y="1175"/>
                </a:lnTo>
                <a:lnTo>
                  <a:pt x="2651" y="2250"/>
                </a:lnTo>
                <a:lnTo>
                  <a:pt x="0" y="3325"/>
                </a:lnTo>
                <a:lnTo>
                  <a:pt x="0" y="450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AE8CB08-3B2A-44E5-8975-B69F3969CD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auto"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75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apositiva tito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0676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and 2 Headings/C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751" y="285749"/>
            <a:ext cx="8572499" cy="599123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5750" y="925830"/>
            <a:ext cx="8572500" cy="288036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4C9BBD74-54FD-481F-B3FD-0CE5318F28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85750" y="1461896"/>
            <a:ext cx="4143375" cy="61722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8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85750" y="2079116"/>
            <a:ext cx="4143374" cy="2326404"/>
          </a:xfrm>
        </p:spPr>
        <p:txBody>
          <a:bodyPr/>
          <a:lstStyle>
            <a:lvl1pPr>
              <a:spcAft>
                <a:spcPts val="450"/>
              </a:spcAft>
              <a:defRPr sz="1350"/>
            </a:lvl1pPr>
            <a:lvl2pPr>
              <a:spcAft>
                <a:spcPts val="450"/>
              </a:spcAft>
              <a:defRPr sz="1350"/>
            </a:lvl2pPr>
            <a:lvl3pPr>
              <a:spcAft>
                <a:spcPts val="450"/>
              </a:spcAft>
              <a:defRPr sz="1350"/>
            </a:lvl3pPr>
            <a:lvl4pPr>
              <a:spcAft>
                <a:spcPts val="450"/>
              </a:spcAft>
              <a:defRPr sz="1200"/>
            </a:lvl4pPr>
            <a:lvl5pPr>
              <a:spcAft>
                <a:spcPts val="450"/>
              </a:spcAft>
              <a:defRPr sz="1200"/>
            </a:lvl5pPr>
            <a:lvl6pPr>
              <a:defRPr sz="9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DE1E44A-D007-46D2-9E20-283025607FF2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714874" y="1461896"/>
            <a:ext cx="4143375" cy="617220"/>
          </a:xfrm>
        </p:spPr>
        <p:txBody>
          <a:bodyPr anchor="t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18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Place headline here 24pt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4714876" y="2079116"/>
            <a:ext cx="4143374" cy="2326404"/>
          </a:xfrm>
        </p:spPr>
        <p:txBody>
          <a:bodyPr/>
          <a:lstStyle>
            <a:lvl1pPr>
              <a:spcAft>
                <a:spcPts val="450"/>
              </a:spcAft>
              <a:defRPr sz="1350"/>
            </a:lvl1pPr>
            <a:lvl2pPr>
              <a:spcAft>
                <a:spcPts val="450"/>
              </a:spcAft>
              <a:defRPr sz="1350"/>
            </a:lvl2pPr>
            <a:lvl3pPr>
              <a:spcAft>
                <a:spcPts val="450"/>
              </a:spcAft>
              <a:defRPr sz="1350"/>
            </a:lvl3pPr>
            <a:lvl4pPr>
              <a:spcAft>
                <a:spcPts val="450"/>
              </a:spcAft>
              <a:defRPr sz="1200"/>
            </a:lvl4pPr>
            <a:lvl5pPr>
              <a:spcAft>
                <a:spcPts val="450"/>
              </a:spcAft>
              <a:defRPr sz="1200"/>
            </a:lvl5pPr>
            <a:lvl6pPr>
              <a:defRPr sz="9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</p:spTree>
    <p:extLst>
      <p:ext uri="{BB962C8B-B14F-4D97-AF65-F5344CB8AC3E}">
        <p14:creationId xmlns:p14="http://schemas.microsoft.com/office/powerpoint/2010/main" val="1659286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08">
          <p15:clr>
            <a:srgbClr val="C35EA4"/>
          </p15:clr>
        </p15:guide>
        <p15:guide id="2" orient="horz" pos="932">
          <p15:clr>
            <a:srgbClr val="547EB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8F8AB72-F014-B875-2AEF-87B59B4384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401326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8F8AB72-F014-B875-2AEF-87B59B4384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6">
            <a:extLst>
              <a:ext uri="{FF2B5EF4-FFF2-40B4-BE49-F238E27FC236}">
                <a16:creationId xmlns:a16="http://schemas.microsoft.com/office/drawing/2014/main" id="{DE0AEF0A-947A-4B80-9CB2-99EC9F0E90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750" y="290705"/>
            <a:ext cx="8126148" cy="461838"/>
          </a:xfrm>
          <a:prstGeom prst="rect">
            <a:avLst/>
          </a:prstGeom>
        </p:spPr>
        <p:txBody>
          <a:bodyPr vert="horz" lIns="0" tIns="0" rIns="0" bIns="0" anchor="t"/>
          <a:lstStyle>
            <a:lvl1pPr>
              <a:lnSpc>
                <a:spcPct val="80000"/>
              </a:lnSpc>
              <a:defRPr sz="2400" b="0" i="0" cap="none" spc="-113">
                <a:solidFill>
                  <a:schemeClr val="accent3"/>
                </a:solidFill>
                <a:latin typeface="Graphik Black" panose="020B0A03030202060203" pitchFamily="34" charset="0"/>
              </a:defRPr>
            </a:lvl1pPr>
          </a:lstStyle>
          <a:p>
            <a:r>
              <a:rPr lang="en-US"/>
              <a:t>Slide title goes here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CF11E57C-CE31-183E-27D3-FDD72D5D5A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72500" y="4857752"/>
            <a:ext cx="285751" cy="15588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marL="0" marR="0" indent="0" algn="r" defTabSz="171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 lang="en-US" sz="600" kern="1200" noProof="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D4B038FE-983B-45CF-B274-E59E41DCE8AD}" type="slidenum">
              <a:rPr lang="en-IN" smtClean="0"/>
              <a:pPr/>
              <a:t>‹N›</a:t>
            </a:fld>
            <a:endParaRPr lang="en-IN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E2AADDC8-CA72-8D07-A09F-9F2B7296CDC0}"/>
              </a:ext>
            </a:extLst>
          </p:cNvPr>
          <p:cNvSpPr txBox="1">
            <a:spLocks/>
          </p:cNvSpPr>
          <p:nvPr userDrawn="1"/>
        </p:nvSpPr>
        <p:spPr>
          <a:xfrm>
            <a:off x="5486400" y="4866175"/>
            <a:ext cx="3086100" cy="14873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lang="en-US" sz="8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71450">
              <a:spcAft>
                <a:spcPts val="900"/>
              </a:spcAft>
              <a:defRPr/>
            </a:pPr>
            <a:r>
              <a:rPr lang="en-GB" sz="600">
                <a:solidFill>
                  <a:srgbClr val="000000">
                    <a:alpha val="75000"/>
                  </a:srgbClr>
                </a:solidFill>
                <a:latin typeface="Graphik"/>
              </a:rPr>
              <a:t>Copyright © 2023 Accentur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829559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hort Headline and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6A2778-1AEF-4134-970E-9AB430A520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BB929FF-38D9-4792-A56F-C1810627FF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750" y="285750"/>
            <a:ext cx="4000500" cy="2000250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4796047A-AB81-403A-B649-52C6F7827E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5750" y="2450726"/>
            <a:ext cx="3998214" cy="228319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  <a:lvl2pPr marL="171450" indent="-171450">
              <a:buFont typeface="Graphik" panose="020B0604020202020204" pitchFamily="34" charset="0"/>
              <a:buChar char="•"/>
              <a:defRPr sz="1350"/>
            </a:lvl2pPr>
            <a:lvl3pPr marL="342900">
              <a:buFont typeface="Graphik" panose="020B0503030202060203" pitchFamily="34" charset="0"/>
              <a:buChar char="–"/>
              <a:defRPr sz="1350"/>
            </a:lvl3pPr>
            <a:lvl4pPr marL="514350">
              <a:buFont typeface="Graphik" panose="020B0604020202020204" pitchFamily="34" charset="0"/>
              <a:buChar char="•"/>
              <a:defRPr sz="1200"/>
            </a:lvl4pPr>
            <a:lvl5pPr marL="685800">
              <a:buFont typeface="Graphik" panose="020B0503030202060203" pitchFamily="34" charset="0"/>
              <a:buChar char="–"/>
              <a:defRPr sz="1200"/>
            </a:lvl5pPr>
          </a:lstStyle>
          <a:p>
            <a:pPr lvl="0"/>
            <a:r>
              <a:rPr lang="en-US"/>
              <a:t>Place sub-headline </a:t>
            </a:r>
            <a:r>
              <a:rPr lang="en-GB"/>
              <a:t>here in GT Sectra Fine </a:t>
            </a:r>
            <a:r>
              <a:rPr lang="en-GB" err="1"/>
              <a:t>Rg</a:t>
            </a:r>
            <a:r>
              <a:rPr lang="en-GB"/>
              <a:t> 24pt</a:t>
            </a:r>
            <a:r>
              <a:rPr lang="en-US"/>
              <a:t>, indent for other levels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bullet 18pt</a:t>
            </a:r>
          </a:p>
          <a:p>
            <a:pPr lvl="3"/>
            <a:r>
              <a:rPr lang="en-US"/>
              <a:t>Fourth level bullet 16pt</a:t>
            </a:r>
          </a:p>
          <a:p>
            <a:pPr lvl="4"/>
            <a:r>
              <a:rPr lang="en-US"/>
              <a:t>Fifth level bullet 16p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7AA6D93-92FF-400D-8AF3-C5AC33611540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572000" y="1"/>
            <a:ext cx="4572000" cy="5143499"/>
          </a:xfrm>
          <a:solidFill>
            <a:schemeClr val="bg1">
              <a:lumMod val="95000"/>
            </a:schemeClr>
          </a:solidFill>
        </p:spPr>
        <p:txBody>
          <a:bodyPr tIns="548640" anchor="t"/>
          <a:lstStyle>
            <a:lvl1pPr marL="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Graphik" panose="020B0604020202020204" pitchFamily="34" charset="0"/>
              <a:buNone/>
              <a:defRPr lang="en-US" sz="105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GB"/>
              <a:t>Drag picture to placeholder or click icon to add, then ‘Send to Back’</a:t>
            </a:r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6067A3-9F0D-44FB-B267-D94DE70856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6102" y="4862258"/>
            <a:ext cx="143315" cy="151005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F384B1D-1AA1-4DD2-A317-08008594FF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86400" y="4866175"/>
            <a:ext cx="3086100" cy="14873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 algn="r">
              <a:defRPr lang="en-US" sz="600" kern="1200" dirty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171450">
              <a:spcAft>
                <a:spcPts val="900"/>
              </a:spcAft>
              <a:defRPr/>
            </a:pPr>
            <a:endParaRPr lang="en-GB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A8120E1C-4C97-0B5F-9B1C-D79979319DA8}"/>
              </a:ext>
            </a:extLst>
          </p:cNvPr>
          <p:cNvSpPr txBox="1">
            <a:spLocks/>
          </p:cNvSpPr>
          <p:nvPr userDrawn="1"/>
        </p:nvSpPr>
        <p:spPr>
          <a:xfrm>
            <a:off x="8779905" y="4981819"/>
            <a:ext cx="192645" cy="150876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Graphik Light" panose="020B040303020206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90F471-3972-4120-B8B3-0237DE626C35}" type="slidenum">
              <a:rPr lang="en-US" sz="600" smtClean="0"/>
              <a:pPr/>
              <a:t>‹N›</a:t>
            </a:fld>
            <a:endParaRPr lang="en-US" sz="600"/>
          </a:p>
        </p:txBody>
      </p:sp>
    </p:spTree>
    <p:extLst>
      <p:ext uri="{BB962C8B-B14F-4D97-AF65-F5344CB8AC3E}">
        <p14:creationId xmlns:p14="http://schemas.microsoft.com/office/powerpoint/2010/main" val="18408674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Headline-sub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1A5E4-3909-4229-80CB-2E4CA2A5B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751" y="285749"/>
            <a:ext cx="8572499" cy="599123"/>
          </a:xfrm>
        </p:spPr>
        <p:txBody>
          <a:bodyPr/>
          <a:lstStyle/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A356218-065E-4505-9831-1D03292456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5750" y="925830"/>
            <a:ext cx="8572500" cy="288036"/>
          </a:xfrm>
        </p:spPr>
        <p:txBody>
          <a:bodyPr anchor="t"/>
          <a:lstStyle>
            <a:lvl1pPr marL="0" indent="0">
              <a:spcAft>
                <a:spcPts val="0"/>
              </a:spcAft>
              <a:buNone/>
              <a:defRPr>
                <a:solidFill>
                  <a:schemeClr val="accent1"/>
                </a:solidFill>
                <a:latin typeface="GT Sectra Fine Rg" panose="00000500000000000000" pitchFamily="50" charset="0"/>
              </a:defRPr>
            </a:lvl1pPr>
          </a:lstStyle>
          <a:p>
            <a:pPr lvl="0"/>
            <a:r>
              <a:rPr lang="en-GB"/>
              <a:t>Place subtitle here in GT Sectra Fine </a:t>
            </a:r>
            <a:r>
              <a:rPr lang="en-GB" err="1"/>
              <a:t>Rg</a:t>
            </a:r>
            <a:r>
              <a:rPr lang="en-GB"/>
              <a:t> 20pt</a:t>
            </a:r>
            <a:endParaRPr lang="en-US"/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F42700C7-7F8C-8142-B39A-C4519A48B9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85750" y="1460754"/>
            <a:ext cx="4143374" cy="3271266"/>
          </a:xfrm>
        </p:spPr>
        <p:txBody>
          <a:bodyPr/>
          <a:lstStyle>
            <a:lvl1pPr>
              <a:spcAft>
                <a:spcPts val="450"/>
              </a:spcAft>
              <a:defRPr sz="1350"/>
            </a:lvl1pPr>
            <a:lvl2pPr>
              <a:spcAft>
                <a:spcPts val="450"/>
              </a:spcAft>
              <a:defRPr sz="1350"/>
            </a:lvl2pPr>
            <a:lvl3pPr>
              <a:spcAft>
                <a:spcPts val="450"/>
              </a:spcAft>
              <a:defRPr sz="1350"/>
            </a:lvl3pPr>
            <a:lvl4pPr>
              <a:spcAft>
                <a:spcPts val="450"/>
              </a:spcAft>
              <a:defRPr sz="1200"/>
            </a:lvl4pPr>
            <a:lvl5pPr>
              <a:spcAft>
                <a:spcPts val="450"/>
              </a:spcAft>
              <a:defRPr sz="1200"/>
            </a:lvl5pPr>
            <a:lvl6pPr>
              <a:defRPr sz="9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B1D4973F-C5A4-0C42-BA05-26E23A1AE857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>
          <a:xfrm>
            <a:off x="4714876" y="1460754"/>
            <a:ext cx="4143374" cy="3271266"/>
          </a:xfrm>
        </p:spPr>
        <p:txBody>
          <a:bodyPr/>
          <a:lstStyle>
            <a:lvl1pPr>
              <a:spcAft>
                <a:spcPts val="450"/>
              </a:spcAft>
              <a:defRPr sz="1350"/>
            </a:lvl1pPr>
            <a:lvl2pPr>
              <a:spcAft>
                <a:spcPts val="450"/>
              </a:spcAft>
              <a:defRPr sz="1350"/>
            </a:lvl2pPr>
            <a:lvl3pPr>
              <a:spcAft>
                <a:spcPts val="450"/>
              </a:spcAft>
              <a:defRPr sz="1350"/>
            </a:lvl3pPr>
            <a:lvl4pPr>
              <a:spcAft>
                <a:spcPts val="450"/>
              </a:spcAft>
              <a:defRPr sz="1200"/>
            </a:lvl4pPr>
            <a:lvl5pPr>
              <a:spcAft>
                <a:spcPts val="450"/>
              </a:spcAft>
              <a:defRPr sz="1200"/>
            </a:lvl5pPr>
            <a:lvl6pPr>
              <a:defRPr sz="900"/>
            </a:lvl6pPr>
          </a:lstStyle>
          <a:p>
            <a:pPr lvl="0"/>
            <a:r>
              <a:rPr lang="en-US"/>
              <a:t>Place text here 18pt</a:t>
            </a:r>
          </a:p>
          <a:p>
            <a:pPr lvl="1"/>
            <a:r>
              <a:rPr lang="en-US"/>
              <a:t>Second level 18pt</a:t>
            </a:r>
          </a:p>
          <a:p>
            <a:pPr lvl="2"/>
            <a:r>
              <a:rPr lang="en-US"/>
              <a:t>Third level 18pt</a:t>
            </a:r>
          </a:p>
          <a:p>
            <a:pPr lvl="3"/>
            <a:r>
              <a:rPr lang="en-US"/>
              <a:t>Fourth level 16pt</a:t>
            </a:r>
          </a:p>
          <a:p>
            <a:pPr lvl="4"/>
            <a:r>
              <a:rPr lang="en-US"/>
              <a:t>Fifth level 16pt</a:t>
            </a:r>
          </a:p>
          <a:p>
            <a:pPr lvl="5"/>
            <a:r>
              <a:rPr lang="en-US"/>
              <a:t>Sixth level 12p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C21C15-B97B-9167-DA9A-F2E890B0CBE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8665605" y="4867519"/>
            <a:ext cx="192645" cy="150876"/>
          </a:xfrm>
        </p:spPr>
        <p:txBody>
          <a:bodyPr/>
          <a:lstStyle/>
          <a:p>
            <a:fld id="{1F90F471-3972-4120-B8B3-0237DE626C35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5579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2">
          <p15:clr>
            <a:srgbClr val="547EB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750" y="285750"/>
            <a:ext cx="8572500" cy="742950"/>
          </a:xfrm>
        </p:spPr>
        <p:txBody>
          <a:bodyPr/>
          <a:lstStyle>
            <a:lvl1pPr>
              <a:defRPr sz="27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85751" y="1028701"/>
            <a:ext cx="8572500" cy="3705225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8050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E5D43D0-3660-4A93-2A2B-4D1F328562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10152351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01" imgH="501" progId="TCLayout.ActiveDocument.1">
                  <p:embed/>
                </p:oleObj>
              </mc:Choice>
              <mc:Fallback>
                <p:oleObj name="think-cell Slide" r:id="rId18" imgW="501" imgH="50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E5D43D0-3660-4A93-2A2B-4D1F32856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85750" y="296741"/>
            <a:ext cx="8572500" cy="6159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285750" y="1028700"/>
            <a:ext cx="8572500" cy="3702028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en-US"/>
              <a:t>First level (bullet 18pt)</a:t>
            </a:r>
          </a:p>
          <a:p>
            <a:pPr lvl="1"/>
            <a:r>
              <a:rPr lang="en-US"/>
              <a:t>Second level (bullet 16pt)</a:t>
            </a:r>
          </a:p>
          <a:p>
            <a:pPr lvl="2"/>
            <a:r>
              <a:rPr lang="en-US"/>
              <a:t>Third level (bullet 14pt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5605" y="4867519"/>
            <a:ext cx="192645" cy="150876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 rtl="0">
              <a:defRPr sz="600">
                <a:solidFill>
                  <a:schemeClr val="tx1"/>
                </a:solidFill>
                <a:latin typeface="Graphik Light" panose="020B0403030202060203" pitchFamily="34" charset="0"/>
              </a:defRPr>
            </a:lvl1pPr>
          </a:lstStyle>
          <a:p>
            <a:fld id="{1F90F471-3972-4120-B8B3-0237DE626C35}" type="slidenum">
              <a:rPr lang="en-US" smtClean="0"/>
              <a:pPr/>
              <a:t>‹N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88B6FA3-5FB2-FED8-2983-8A9AE79A9410}"/>
              </a:ext>
            </a:extLst>
          </p:cNvPr>
          <p:cNvGrpSpPr/>
          <p:nvPr userDrawn="1">
            <p:custDataLst>
              <p:tags r:id="rId17"/>
            </p:custDataLst>
          </p:nvPr>
        </p:nvGrpSpPr>
        <p:grpSpPr>
          <a:xfrm>
            <a:off x="6207595" y="12060"/>
            <a:ext cx="2215624" cy="123880"/>
            <a:chOff x="5004215" y="228600"/>
            <a:chExt cx="3568285" cy="26624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261EA84-B130-081C-BB74-6DBE79EB8928}"/>
                </a:ext>
              </a:extLst>
            </p:cNvPr>
            <p:cNvSpPr txBox="1"/>
            <p:nvPr/>
          </p:nvSpPr>
          <p:spPr>
            <a:xfrm>
              <a:off x="5004215" y="292472"/>
              <a:ext cx="3568285" cy="138499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ctr" anchorCtr="1">
              <a:spAutoFit/>
            </a:bodyPr>
            <a:lstStyle/>
            <a:p>
              <a:pPr algn="ctr" defTabSz="228600">
                <a:spcAft>
                  <a:spcPts val="1200"/>
                </a:spcAft>
              </a:pPr>
              <a:r>
                <a:rPr lang="en-US" sz="900" noProof="0">
                  <a:solidFill>
                    <a:srgbClr val="000000"/>
                  </a:solidFill>
                  <a:latin typeface="Century Gothic" panose="020B0502020202020204" pitchFamily="34" charset="0"/>
                </a:rPr>
                <a:t>PRELIMINARY DRAFT FOR DISCUSSION</a:t>
              </a: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C158092E-263B-25A2-059B-5494B5959A58}"/>
                </a:ext>
              </a:extLst>
            </p:cNvPr>
            <p:cNvCxnSpPr>
              <a:cxnSpLocks/>
            </p:cNvCxnSpPr>
            <p:nvPr/>
          </p:nvCxnSpPr>
          <p:spPr>
            <a:xfrm>
              <a:off x="5004215" y="228600"/>
              <a:ext cx="3568285" cy="0"/>
            </a:xfrm>
            <a:prstGeom prst="line">
              <a:avLst/>
            </a:prstGeom>
            <a:ln w="12700" cmpd="sng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0DA27DCD-4625-C361-5187-97156FF259D8}"/>
                </a:ext>
              </a:extLst>
            </p:cNvPr>
            <p:cNvCxnSpPr>
              <a:cxnSpLocks/>
            </p:cNvCxnSpPr>
            <p:nvPr/>
          </p:nvCxnSpPr>
          <p:spPr>
            <a:xfrm>
              <a:off x="5004215" y="494844"/>
              <a:ext cx="3568285" cy="0"/>
            </a:xfrm>
            <a:prstGeom prst="line">
              <a:avLst/>
            </a:prstGeom>
            <a:ln w="12700" cmpd="sng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82616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  <p:sldLayoutId id="2147483847" r:id="rId14"/>
  </p:sldLayoutIdLst>
  <p:hf hdr="0" ftr="0" dt="0"/>
  <p:txStyles>
    <p:titleStyle>
      <a:lvl1pPr algn="l" defTabSz="685800" rtl="0" eaLnBrk="1" latinLnBrk="0" hangingPunct="1">
        <a:lnSpc>
          <a:spcPct val="80000"/>
        </a:lnSpc>
        <a:spcBef>
          <a:spcPct val="0"/>
        </a:spcBef>
        <a:buNone/>
        <a:defRPr sz="2400" b="0" kern="1200">
          <a:solidFill>
            <a:schemeClr val="tx1"/>
          </a:solidFill>
          <a:latin typeface="Graphik Semibold" panose="020B0703030202060203" pitchFamily="34" charset="0"/>
          <a:ea typeface="+mj-ea"/>
          <a:cs typeface="+mj-cs"/>
        </a:defRPr>
      </a:lvl1pPr>
    </p:titleStyle>
    <p:bodyStyle>
      <a:lvl1pPr marL="133350" indent="-133350" algn="l" defTabSz="17145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1350" b="0" kern="1200">
          <a:solidFill>
            <a:schemeClr val="tx1"/>
          </a:solidFill>
          <a:latin typeface="Graphik Light" panose="020B0403030202060203" pitchFamily="34" charset="0"/>
          <a:ea typeface="+mn-ea"/>
          <a:cs typeface="+mn-cs"/>
        </a:defRPr>
      </a:lvl1pPr>
      <a:lvl2pPr marL="271463" indent="-138113" algn="l" defTabSz="17145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Tx/>
        <a:buFont typeface="Arial" panose="020B0503030202060203" pitchFamily="34" charset="0"/>
        <a:buChar char="–"/>
        <a:defRPr sz="1200" kern="1200">
          <a:solidFill>
            <a:schemeClr val="tx1"/>
          </a:solidFill>
          <a:latin typeface="Graphik Light" panose="020B0403030202060203" pitchFamily="34" charset="0"/>
          <a:ea typeface="+mn-ea"/>
          <a:cs typeface="+mn-cs"/>
        </a:defRPr>
      </a:lvl2pPr>
      <a:lvl3pPr marL="404813" indent="-133350" algn="l" defTabSz="17145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Graphik Light" panose="020B0403030202060203" pitchFamily="34" charset="0"/>
          <a:ea typeface="+mn-ea"/>
          <a:cs typeface="+mn-cs"/>
        </a:defRPr>
      </a:lvl3pPr>
      <a:lvl4pPr marL="514350" indent="0" algn="l" defTabSz="17145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503030202060203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17145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8335" indent="0" algn="l" defTabSz="17145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Arial" panose="020B0503030202060203" pitchFamily="34" charset="0"/>
        <a:buNone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7145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7145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75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7145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6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  <p15:guide id="5" orient="horz" pos="232">
          <p15:clr>
            <a:srgbClr val="C35EA4"/>
          </p15:clr>
        </p15:guide>
        <p15:guide id="6" orient="horz" pos="4054">
          <p15:clr>
            <a:srgbClr val="C35EA4"/>
          </p15:clr>
        </p15:guide>
        <p15:guide id="7" orient="horz" pos="867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E5D43D0-3660-4A93-2A2B-4D1F328562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54076165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01" imgH="501" progId="TCLayout.ActiveDocument.1">
                  <p:embed/>
                </p:oleObj>
              </mc:Choice>
              <mc:Fallback>
                <p:oleObj name="think-cell Slide" r:id="rId19" imgW="501" imgH="50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E5D43D0-3660-4A93-2A2B-4D1F32856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285750" y="296741"/>
            <a:ext cx="8572500" cy="61592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285750" y="1028700"/>
            <a:ext cx="8572500" cy="3702028"/>
          </a:xfrm>
          <a:prstGeom prst="rect">
            <a:avLst/>
          </a:prstGeom>
        </p:spPr>
        <p:txBody>
          <a:bodyPr vert="horz" lIns="0" tIns="36000" rIns="0" bIns="0" rtlCol="0">
            <a:noAutofit/>
          </a:bodyPr>
          <a:lstStyle/>
          <a:p>
            <a:pPr lvl="0"/>
            <a:r>
              <a:rPr lang="en-US"/>
              <a:t>First level (bullet 18pt)</a:t>
            </a:r>
          </a:p>
          <a:p>
            <a:pPr lvl="1"/>
            <a:r>
              <a:rPr lang="en-US"/>
              <a:t>Second level (bullet 16pt)</a:t>
            </a:r>
          </a:p>
          <a:p>
            <a:pPr lvl="2"/>
            <a:r>
              <a:rPr lang="en-US"/>
              <a:t>Third level (bullet 14pt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069DFD1-72F5-4590-A067-19F2501AAB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5605" y="4867519"/>
            <a:ext cx="192645" cy="150876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 rtl="0">
              <a:defRPr sz="600">
                <a:solidFill>
                  <a:schemeClr val="tx1"/>
                </a:solidFill>
                <a:latin typeface="Graphik Light" panose="020B0403030202060203" pitchFamily="34" charset="0"/>
              </a:defRPr>
            </a:lvl1pPr>
          </a:lstStyle>
          <a:p>
            <a:fld id="{1F90F471-3972-4120-B8B3-0237DE626C35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77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  <p:sldLayoutId id="2147483869" r:id="rId13"/>
    <p:sldLayoutId id="2147483870" r:id="rId14"/>
    <p:sldLayoutId id="2147483871" r:id="rId15"/>
    <p:sldLayoutId id="2147483872" r:id="rId16"/>
  </p:sldLayoutIdLst>
  <p:hf sldNum="0" hdr="0" ftr="0" dt="0"/>
  <p:txStyles>
    <p:titleStyle>
      <a:lvl1pPr algn="l" defTabSz="685800" rtl="0" eaLnBrk="1" latinLnBrk="0" hangingPunct="1">
        <a:lnSpc>
          <a:spcPct val="80000"/>
        </a:lnSpc>
        <a:spcBef>
          <a:spcPct val="0"/>
        </a:spcBef>
        <a:buNone/>
        <a:defRPr sz="2400" b="0" kern="1200">
          <a:solidFill>
            <a:schemeClr val="tx1"/>
          </a:solidFill>
          <a:latin typeface="Graphik Semibold" panose="020B0703030202060203" pitchFamily="34" charset="0"/>
          <a:ea typeface="+mj-ea"/>
          <a:cs typeface="+mj-cs"/>
        </a:defRPr>
      </a:lvl1pPr>
    </p:titleStyle>
    <p:bodyStyle>
      <a:lvl1pPr marL="133350" indent="-133350" algn="l" defTabSz="17145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1350" b="0" kern="1200">
          <a:solidFill>
            <a:schemeClr val="tx1"/>
          </a:solidFill>
          <a:latin typeface="Graphik Light" panose="020B0403030202060203" pitchFamily="34" charset="0"/>
          <a:ea typeface="+mn-ea"/>
          <a:cs typeface="+mn-cs"/>
        </a:defRPr>
      </a:lvl1pPr>
      <a:lvl2pPr marL="271463" indent="-138113" algn="l" defTabSz="17145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Tx/>
        <a:buFont typeface="Arial" panose="020B0503030202060203" pitchFamily="34" charset="0"/>
        <a:buChar char="–"/>
        <a:defRPr sz="1200" kern="1200">
          <a:solidFill>
            <a:schemeClr val="tx1"/>
          </a:solidFill>
          <a:latin typeface="Graphik Light" panose="020B0403030202060203" pitchFamily="34" charset="0"/>
          <a:ea typeface="+mn-ea"/>
          <a:cs typeface="+mn-cs"/>
        </a:defRPr>
      </a:lvl2pPr>
      <a:lvl3pPr marL="404813" indent="-133350" algn="l" defTabSz="17145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Graphik Light" panose="020B0403030202060203" pitchFamily="34" charset="0"/>
          <a:ea typeface="+mn-ea"/>
          <a:cs typeface="+mn-cs"/>
        </a:defRPr>
      </a:lvl3pPr>
      <a:lvl4pPr marL="514350" indent="0" algn="l" defTabSz="17145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503030202060203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17145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8335" indent="0" algn="l" defTabSz="17145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Arial" panose="020B0503030202060203" pitchFamily="34" charset="0"/>
        <a:buNone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7145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7145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75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7145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6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40">
          <p15:clr>
            <a:srgbClr val="C35EA4"/>
          </p15:clr>
        </p15:guide>
        <p15:guide id="4" pos="7440">
          <p15:clr>
            <a:srgbClr val="C35EA4"/>
          </p15:clr>
        </p15:guide>
        <p15:guide id="5" orient="horz" pos="232">
          <p15:clr>
            <a:srgbClr val="C35EA4"/>
          </p15:clr>
        </p15:guide>
        <p15:guide id="6" orient="horz" pos="4054">
          <p15:clr>
            <a:srgbClr val="C35EA4"/>
          </p15:clr>
        </p15:guide>
        <p15:guide id="7" orient="horz" pos="867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43E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5499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svg"/><Relationship Id="rId18" Type="http://schemas.openxmlformats.org/officeDocument/2006/relationships/image" Target="../media/image37.png"/><Relationship Id="rId3" Type="http://schemas.openxmlformats.org/officeDocument/2006/relationships/image" Target="../media/image22.svg"/><Relationship Id="rId7" Type="http://schemas.openxmlformats.org/officeDocument/2006/relationships/image" Target="../media/image26.svg"/><Relationship Id="rId12" Type="http://schemas.openxmlformats.org/officeDocument/2006/relationships/image" Target="../media/image31.png"/><Relationship Id="rId17" Type="http://schemas.openxmlformats.org/officeDocument/2006/relationships/image" Target="../media/image36.svg"/><Relationship Id="rId2" Type="http://schemas.openxmlformats.org/officeDocument/2006/relationships/image" Target="../media/image21.png"/><Relationship Id="rId16" Type="http://schemas.openxmlformats.org/officeDocument/2006/relationships/image" Target="../media/image35.pn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25.png"/><Relationship Id="rId11" Type="http://schemas.openxmlformats.org/officeDocument/2006/relationships/image" Target="../media/image30.svg"/><Relationship Id="rId5" Type="http://schemas.openxmlformats.org/officeDocument/2006/relationships/image" Target="../media/image24.svg"/><Relationship Id="rId15" Type="http://schemas.openxmlformats.org/officeDocument/2006/relationships/image" Target="../media/image34.svg"/><Relationship Id="rId10" Type="http://schemas.openxmlformats.org/officeDocument/2006/relationships/image" Target="../media/image29.png"/><Relationship Id="rId19" Type="http://schemas.microsoft.com/office/2007/relationships/hdphoto" Target="../media/hdphoto1.wdp"/><Relationship Id="rId4" Type="http://schemas.openxmlformats.org/officeDocument/2006/relationships/image" Target="../media/image23.png"/><Relationship Id="rId9" Type="http://schemas.openxmlformats.org/officeDocument/2006/relationships/image" Target="../media/image28.svg"/><Relationship Id="rId1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svg"/><Relationship Id="rId18" Type="http://schemas.openxmlformats.org/officeDocument/2006/relationships/image" Target="../media/image37.png"/><Relationship Id="rId3" Type="http://schemas.openxmlformats.org/officeDocument/2006/relationships/image" Target="../media/image22.svg"/><Relationship Id="rId7" Type="http://schemas.openxmlformats.org/officeDocument/2006/relationships/image" Target="../media/image26.svg"/><Relationship Id="rId12" Type="http://schemas.openxmlformats.org/officeDocument/2006/relationships/image" Target="../media/image31.png"/><Relationship Id="rId17" Type="http://schemas.openxmlformats.org/officeDocument/2006/relationships/image" Target="../media/image36.svg"/><Relationship Id="rId2" Type="http://schemas.openxmlformats.org/officeDocument/2006/relationships/image" Target="../media/image21.png"/><Relationship Id="rId16" Type="http://schemas.openxmlformats.org/officeDocument/2006/relationships/image" Target="../media/image35.pn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25.png"/><Relationship Id="rId11" Type="http://schemas.openxmlformats.org/officeDocument/2006/relationships/image" Target="../media/image30.svg"/><Relationship Id="rId5" Type="http://schemas.openxmlformats.org/officeDocument/2006/relationships/image" Target="../media/image24.svg"/><Relationship Id="rId15" Type="http://schemas.openxmlformats.org/officeDocument/2006/relationships/image" Target="../media/image34.svg"/><Relationship Id="rId10" Type="http://schemas.openxmlformats.org/officeDocument/2006/relationships/image" Target="../media/image29.png"/><Relationship Id="rId19" Type="http://schemas.microsoft.com/office/2007/relationships/hdphoto" Target="../media/hdphoto1.wdp"/><Relationship Id="rId4" Type="http://schemas.openxmlformats.org/officeDocument/2006/relationships/image" Target="../media/image23.png"/><Relationship Id="rId9" Type="http://schemas.openxmlformats.org/officeDocument/2006/relationships/image" Target="../media/image28.svg"/><Relationship Id="rId1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84BC4140-4D79-FC49-4B22-9D5931B2C471}"/>
              </a:ext>
            </a:extLst>
          </p:cNvPr>
          <p:cNvSpPr txBox="1"/>
          <p:nvPr/>
        </p:nvSpPr>
        <p:spPr>
          <a:xfrm>
            <a:off x="1710530" y="3241259"/>
            <a:ext cx="5987095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nti, CRM, via!</a:t>
            </a:r>
            <a:endParaRPr kumimoji="0" lang="it-IT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7154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3">
            <a:extLst>
              <a:ext uri="{FF2B5EF4-FFF2-40B4-BE49-F238E27FC236}">
                <a16:creationId xmlns:a16="http://schemas.microsoft.com/office/drawing/2014/main" id="{7FAEF71A-E377-31D1-BBE6-7CE62130D91A}"/>
              </a:ext>
            </a:extLst>
          </p:cNvPr>
          <p:cNvSpPr/>
          <p:nvPr/>
        </p:nvSpPr>
        <p:spPr>
          <a:xfrm>
            <a:off x="3733396" y="1267754"/>
            <a:ext cx="1711018" cy="3649255"/>
          </a:xfrm>
          <a:prstGeom prst="roundRect">
            <a:avLst>
              <a:gd name="adj" fmla="val 9836"/>
            </a:avLst>
          </a:prstGeo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2304000" rIns="91440" bIns="45720" rtlCol="0" anchor="t"/>
          <a:lstStyle/>
          <a:p>
            <a:pPr marR="0" lvl="0" indent="0" defTabSz="914355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900" b="1" dirty="0">
                <a:solidFill>
                  <a:srgbClr val="5A148E"/>
                </a:solidFill>
                <a:latin typeface="Arial"/>
                <a:cs typeface="Arial"/>
              </a:rPr>
              <a:t>La funzionalità supporterà i Venditori nella definizione e nell’inserimento del dato di Previsione di medio/ lungo periodo </a:t>
            </a:r>
            <a:r>
              <a:rPr lang="it-IT" sz="900" dirty="0">
                <a:solidFill>
                  <a:srgbClr val="5A148E"/>
                </a:solidFill>
                <a:latin typeface="Arial"/>
                <a:cs typeface="Arial"/>
              </a:rPr>
              <a:t>(anno declinato per trimestre).</a:t>
            </a:r>
            <a:endParaRPr lang="it-IT" sz="900" dirty="0">
              <a:solidFill>
                <a:srgbClr val="5A148E"/>
              </a:solidFill>
              <a:latin typeface="Arial"/>
              <a:cs typeface="Arial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0" name="Rectangle 23">
            <a:extLst>
              <a:ext uri="{FF2B5EF4-FFF2-40B4-BE49-F238E27FC236}">
                <a16:creationId xmlns:a16="http://schemas.microsoft.com/office/drawing/2014/main" id="{A0633D35-554A-C3CB-C976-3B498B26F20B}"/>
              </a:ext>
            </a:extLst>
          </p:cNvPr>
          <p:cNvSpPr/>
          <p:nvPr/>
        </p:nvSpPr>
        <p:spPr>
          <a:xfrm>
            <a:off x="7263862" y="1267754"/>
            <a:ext cx="1711018" cy="3649255"/>
          </a:xfrm>
          <a:prstGeom prst="roundRect">
            <a:avLst>
              <a:gd name="adj" fmla="val 9836"/>
            </a:avLst>
          </a:prstGeo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2304000" rIns="91440" bIns="45720" rtlCol="0" anchor="t"/>
          <a:lstStyle/>
          <a:p>
            <a:pPr defTabSz="914355">
              <a:spcBef>
                <a:spcPts val="600"/>
              </a:spcBef>
              <a:defRPr/>
            </a:pPr>
            <a:r>
              <a:rPr lang="it-IT" sz="900" b="1" dirty="0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La funzionalità abiliterà la classificazione dei Clienti/ Agenzie in Cluster; </a:t>
            </a:r>
            <a:r>
              <a:rPr lang="it-IT" sz="900" dirty="0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la </a:t>
            </a:r>
            <a:r>
              <a:rPr lang="it-IT" sz="900" dirty="0" err="1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Clusterizzazione</a:t>
            </a:r>
            <a:r>
              <a:rPr lang="it-IT" sz="900" dirty="0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 sarà utilizzata per supportare i processi di vendita.</a:t>
            </a:r>
          </a:p>
          <a:p>
            <a:pPr defTabSz="914355">
              <a:spcBef>
                <a:spcPts val="200"/>
              </a:spcBef>
              <a:defRPr/>
            </a:pPr>
            <a:endParaRPr lang="it-IT" sz="900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3" name="Rectangle 23">
            <a:extLst>
              <a:ext uri="{FF2B5EF4-FFF2-40B4-BE49-F238E27FC236}">
                <a16:creationId xmlns:a16="http://schemas.microsoft.com/office/drawing/2014/main" id="{8AC5CACF-4C6C-B020-9DE9-7A776EFE4355}"/>
              </a:ext>
            </a:extLst>
          </p:cNvPr>
          <p:cNvSpPr/>
          <p:nvPr/>
        </p:nvSpPr>
        <p:spPr>
          <a:xfrm>
            <a:off x="5498629" y="1267754"/>
            <a:ext cx="1711018" cy="3649255"/>
          </a:xfrm>
          <a:prstGeom prst="roundRect">
            <a:avLst>
              <a:gd name="adj" fmla="val 9836"/>
            </a:avLst>
          </a:prstGeo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2304000" rIns="91440" bIns="45720" rtlCol="0" anchor="t"/>
          <a:lstStyle/>
          <a:p>
            <a:pPr defTabSz="914378">
              <a:spcBef>
                <a:spcPts val="450"/>
              </a:spcBef>
              <a:defRPr/>
            </a:pPr>
            <a:r>
              <a:rPr lang="it-IT" sz="900" b="1" dirty="0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La funzionalità </a:t>
            </a:r>
            <a:r>
              <a:rPr lang="it-IT" sz="900" dirty="0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consentirà la declinazione e il </a:t>
            </a:r>
            <a:r>
              <a:rPr lang="it-IT" sz="900" b="1" dirty="0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calcolo degli Obiettivi a livello di singolo Cliente/ Portafoglio</a:t>
            </a:r>
            <a:r>
              <a:rPr lang="it-IT" sz="900" dirty="0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 e </a:t>
            </a:r>
            <a:r>
              <a:rPr lang="it-IT" sz="900" b="1" dirty="0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abiliterà il monitoraggio dello stato di avanzamento</a:t>
            </a:r>
            <a:r>
              <a:rPr lang="it-IT" sz="900" dirty="0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.</a:t>
            </a:r>
          </a:p>
        </p:txBody>
      </p:sp>
      <p:sp>
        <p:nvSpPr>
          <p:cNvPr id="18" name="Rectangle 23">
            <a:extLst>
              <a:ext uri="{FF2B5EF4-FFF2-40B4-BE49-F238E27FC236}">
                <a16:creationId xmlns:a16="http://schemas.microsoft.com/office/drawing/2014/main" id="{47592304-1285-C8A6-0FEB-92F51147A15E}"/>
              </a:ext>
            </a:extLst>
          </p:cNvPr>
          <p:cNvSpPr/>
          <p:nvPr/>
        </p:nvSpPr>
        <p:spPr>
          <a:xfrm>
            <a:off x="1968163" y="1267754"/>
            <a:ext cx="1711018" cy="3649255"/>
          </a:xfrm>
          <a:prstGeom prst="roundRect">
            <a:avLst>
              <a:gd name="adj" fmla="val 9836"/>
            </a:avLst>
          </a:prstGeo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2304000" rIns="91440" bIns="45720" rtlCol="0" anchor="t"/>
          <a:lstStyle/>
          <a:p>
            <a:pPr defTabSz="914355">
              <a:spcBef>
                <a:spcPts val="600"/>
              </a:spcBef>
            </a:pPr>
            <a:r>
              <a:rPr lang="it-IT" sz="900" b="1" dirty="0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La funzionalità abiliterà la gestione del flusso di Approvazione degli Accordi </a:t>
            </a:r>
            <a:r>
              <a:rPr lang="it-IT" sz="900" dirty="0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con l’obiettivo di evitare l’accentramento dell’approvazione ad un unico livello della Struttura Commerciale. </a:t>
            </a:r>
          </a:p>
        </p:txBody>
      </p:sp>
      <p:sp>
        <p:nvSpPr>
          <p:cNvPr id="20" name="Rectangle 23">
            <a:extLst>
              <a:ext uri="{FF2B5EF4-FFF2-40B4-BE49-F238E27FC236}">
                <a16:creationId xmlns:a16="http://schemas.microsoft.com/office/drawing/2014/main" id="{72AB05A0-79F1-7EC9-43EB-24CCE1872012}"/>
              </a:ext>
            </a:extLst>
          </p:cNvPr>
          <p:cNvSpPr/>
          <p:nvPr/>
        </p:nvSpPr>
        <p:spPr>
          <a:xfrm>
            <a:off x="202930" y="1267754"/>
            <a:ext cx="1711018" cy="3649255"/>
          </a:xfrm>
          <a:prstGeom prst="roundRect">
            <a:avLst>
              <a:gd name="adj" fmla="val 9836"/>
            </a:avLst>
          </a:prstGeo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2304000" rIns="91440" bIns="45720" rtlCol="0" anchor="t"/>
          <a:lstStyle/>
          <a:p>
            <a:pPr defTabSz="914355">
              <a:spcBef>
                <a:spcPts val="600"/>
              </a:spcBef>
            </a:pPr>
            <a:r>
              <a:rPr lang="it-IT" sz="900" b="1" dirty="0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La funzionalità supporterà i Venditori nella Gestione delle Visite commerciali ai propri Clienti/ Agenzie</a:t>
            </a:r>
            <a:r>
              <a:rPr lang="it-IT" sz="900" dirty="0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, sia nella fase di preparazione dell’incontro sia nella fase di reportistica e follow up.</a:t>
            </a:r>
            <a:endParaRPr lang="it-IT" sz="900" dirty="0">
              <a:solidFill>
                <a:srgbClr val="5A148E"/>
              </a:solidFill>
              <a:latin typeface="Arial"/>
              <a:cs typeface="Arial"/>
            </a:endParaRPr>
          </a:p>
          <a:p>
            <a:pPr defTabSz="914355">
              <a:spcBef>
                <a:spcPts val="600"/>
              </a:spcBef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600"/>
              </a:spcBef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600"/>
              </a:spcBef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600"/>
              </a:spcBef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600"/>
              </a:spcBef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600"/>
              </a:spcBef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600"/>
              </a:spcBef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600"/>
              </a:spcBef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grpSp>
        <p:nvGrpSpPr>
          <p:cNvPr id="5" name="Gruppo 4">
            <a:extLst>
              <a:ext uri="{FF2B5EF4-FFF2-40B4-BE49-F238E27FC236}">
                <a16:creationId xmlns:a16="http://schemas.microsoft.com/office/drawing/2014/main" id="{253B0334-1160-3081-B0D8-47007932A1A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3791022" y="1701504"/>
            <a:ext cx="1616075" cy="1753076"/>
            <a:chOff x="4415135" y="954321"/>
            <a:chExt cx="1718600" cy="1835563"/>
          </a:xfrm>
        </p:grpSpPr>
        <p:sp>
          <p:nvSpPr>
            <p:cNvPr id="4" name="Rettangolo 3">
              <a:extLst>
                <a:ext uri="{FF2B5EF4-FFF2-40B4-BE49-F238E27FC236}">
                  <a16:creationId xmlns:a16="http://schemas.microsoft.com/office/drawing/2014/main" id="{2333D1E6-C9C8-905C-3877-AEDF411D63C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4415135" y="954321"/>
              <a:ext cx="1718600" cy="183556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64125B94-48AD-EA8E-FA1F-3F5F45389FE1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4592860" y="1259503"/>
              <a:ext cx="1341757" cy="1224016"/>
              <a:chOff x="195318" y="1189823"/>
              <a:chExt cx="1718631" cy="1518004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81B87075-70DB-1041-3E37-37693979FE54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>
                <a:off x="195318" y="2450216"/>
                <a:ext cx="1718631" cy="257611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8">
                  <a:defRPr/>
                </a:pPr>
                <a:endParaRPr lang="it-IT">
                  <a:solidFill>
                    <a:prstClr val="white"/>
                  </a:solidFill>
                  <a:latin typeface="Calibri"/>
                </a:endParaRPr>
              </a:p>
            </p:txBody>
          </p:sp>
          <p:pic>
            <p:nvPicPr>
              <p:cNvPr id="44" name="Picture 43" descr="A person standing next to a computer screen&#10;&#10;Description automatically generated">
                <a:extLst>
                  <a:ext uri="{FF2B5EF4-FFF2-40B4-BE49-F238E27FC236}">
                    <a16:creationId xmlns:a16="http://schemas.microsoft.com/office/drawing/2014/main" id="{59007B5D-A8F5-511F-8A75-F9082569071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136" t="-1" r="12639" b="-1031"/>
              <a:stretch/>
            </p:blipFill>
            <p:spPr>
              <a:xfrm>
                <a:off x="195318" y="1189823"/>
                <a:ext cx="1717199" cy="1482908"/>
              </a:xfrm>
              <a:prstGeom prst="rect">
                <a:avLst/>
              </a:prstGeom>
            </p:spPr>
          </p:pic>
        </p:grpSp>
      </p:grpSp>
      <p:pic>
        <p:nvPicPr>
          <p:cNvPr id="38" name="Picture 37" descr="A person holding green squares&#10;&#10;Description automatically generated">
            <a:extLst>
              <a:ext uri="{FF2B5EF4-FFF2-40B4-BE49-F238E27FC236}">
                <a16:creationId xmlns:a16="http://schemas.microsoft.com/office/drawing/2014/main" id="{2B58D16C-6F23-C416-D657-52F43CD5BA9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638" y="1815911"/>
            <a:ext cx="1651646" cy="1460055"/>
          </a:xfrm>
          <a:prstGeom prst="rect">
            <a:avLst/>
          </a:prstGeom>
        </p:spPr>
      </p:pic>
      <p:pic>
        <p:nvPicPr>
          <p:cNvPr id="48" name="Picture 47" descr="A person holding a green sign&#10;&#10;Description automatically generated">
            <a:extLst>
              <a:ext uri="{FF2B5EF4-FFF2-40B4-BE49-F238E27FC236}">
                <a16:creationId xmlns:a16="http://schemas.microsoft.com/office/drawing/2014/main" id="{47494163-4C20-4014-E512-D0EC68D9DD6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38" r="8892"/>
          <a:stretch/>
        </p:blipFill>
        <p:spPr>
          <a:xfrm>
            <a:off x="7295501" y="1816842"/>
            <a:ext cx="1648288" cy="1461916"/>
          </a:xfrm>
          <a:prstGeom prst="rect">
            <a:avLst/>
          </a:prstGeom>
        </p:spPr>
      </p:pic>
      <p:pic>
        <p:nvPicPr>
          <p:cNvPr id="36" name="Picture 35" descr="A person walking towards a diagram&#10;&#10;Description automatically generated">
            <a:extLst>
              <a:ext uri="{FF2B5EF4-FFF2-40B4-BE49-F238E27FC236}">
                <a16:creationId xmlns:a16="http://schemas.microsoft.com/office/drawing/2014/main" id="{24C84212-F8A0-1F9F-FA73-A9CC5C209DF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05"/>
          <a:stretch/>
        </p:blipFill>
        <p:spPr>
          <a:xfrm>
            <a:off x="5548948" y="1832310"/>
            <a:ext cx="1580908" cy="1399606"/>
          </a:xfrm>
          <a:prstGeom prst="rect">
            <a:avLst/>
          </a:prstGeom>
        </p:spPr>
      </p:pic>
      <p:pic>
        <p:nvPicPr>
          <p:cNvPr id="40" name="Picture 39" descr="A person standing in front of a checklist&#10;&#10;Description automatically generated">
            <a:extLst>
              <a:ext uri="{FF2B5EF4-FFF2-40B4-BE49-F238E27FC236}">
                <a16:creationId xmlns:a16="http://schemas.microsoft.com/office/drawing/2014/main" id="{BBB7D66E-5C02-595F-5403-D8F033B5E6C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61" t="-1" r="11476" b="-4076"/>
          <a:stretch/>
        </p:blipFill>
        <p:spPr>
          <a:xfrm>
            <a:off x="2025048" y="1847066"/>
            <a:ext cx="1554626" cy="1429118"/>
          </a:xfrm>
          <a:prstGeom prst="rect">
            <a:avLst/>
          </a:prstGeom>
        </p:spPr>
      </p:pic>
      <p:sp>
        <p:nvSpPr>
          <p:cNvPr id="3" name="CasellaDiTesto 3">
            <a:extLst>
              <a:ext uri="{FF2B5EF4-FFF2-40B4-BE49-F238E27FC236}">
                <a16:creationId xmlns:a16="http://schemas.microsoft.com/office/drawing/2014/main" id="{BB0D6B5D-E757-4A7C-9631-D755D09E66F9}"/>
              </a:ext>
            </a:extLst>
          </p:cNvPr>
          <p:cNvSpPr txBox="1"/>
          <p:nvPr/>
        </p:nvSpPr>
        <p:spPr>
          <a:xfrm>
            <a:off x="721142" y="663539"/>
            <a:ext cx="799105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378">
              <a:defRPr/>
            </a:pPr>
            <a:r>
              <a:rPr lang="it-IT" sz="24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zionalità | Fase 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BBCD783-84FE-B8FC-FADD-8A451C7AEC27}"/>
              </a:ext>
            </a:extLst>
          </p:cNvPr>
          <p:cNvSpPr/>
          <p:nvPr/>
        </p:nvSpPr>
        <p:spPr>
          <a:xfrm>
            <a:off x="7299433" y="1388361"/>
            <a:ext cx="1616075" cy="319488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r>
              <a:rPr lang="it-IT" sz="900" b="1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IZZAZIONE CLIENTI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27BAA33-0765-A21D-28B6-C64CD7BB0E04}"/>
              </a:ext>
            </a:extLst>
          </p:cNvPr>
          <p:cNvSpPr/>
          <p:nvPr/>
        </p:nvSpPr>
        <p:spPr>
          <a:xfrm>
            <a:off x="5546100" y="1367983"/>
            <a:ext cx="1616075" cy="319488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914378">
              <a:defRPr/>
            </a:pPr>
            <a:r>
              <a:rPr lang="it-IT" sz="900" b="1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IETTIVI COMMERCIALI E DI VENDITA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C45D4DD-E5EF-02E7-7153-F8DAA030FA75}"/>
              </a:ext>
            </a:extLst>
          </p:cNvPr>
          <p:cNvSpPr/>
          <p:nvPr/>
        </p:nvSpPr>
        <p:spPr>
          <a:xfrm>
            <a:off x="2015634" y="1388361"/>
            <a:ext cx="1616075" cy="319488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r>
              <a:rPr lang="it-IT" sz="900" b="1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LOW APPROVATIVO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3DFE2B5-BC89-9C7D-3F15-A8810475F40B}"/>
              </a:ext>
            </a:extLst>
          </p:cNvPr>
          <p:cNvSpPr/>
          <p:nvPr/>
        </p:nvSpPr>
        <p:spPr>
          <a:xfrm>
            <a:off x="250401" y="1392279"/>
            <a:ext cx="1616075" cy="319488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r>
              <a:rPr lang="it-IT" sz="900" b="1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ONE VISIT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A0D78E0-972D-646E-B358-791E4D65B0EA}"/>
              </a:ext>
            </a:extLst>
          </p:cNvPr>
          <p:cNvSpPr/>
          <p:nvPr/>
        </p:nvSpPr>
        <p:spPr>
          <a:xfrm>
            <a:off x="3763639" y="1369433"/>
            <a:ext cx="1616075" cy="319488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r>
              <a:rPr lang="it-IT" sz="900" b="1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ISIONI DI VENDITA</a:t>
            </a:r>
          </a:p>
        </p:txBody>
      </p:sp>
    </p:spTree>
    <p:extLst>
      <p:ext uri="{BB962C8B-B14F-4D97-AF65-F5344CB8AC3E}">
        <p14:creationId xmlns:p14="http://schemas.microsoft.com/office/powerpoint/2010/main" val="187444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>
            <a:extLst>
              <a:ext uri="{FF2B5EF4-FFF2-40B4-BE49-F238E27FC236}">
                <a16:creationId xmlns:a16="http://schemas.microsoft.com/office/drawing/2014/main" id="{F1198263-F613-A59D-F2DC-D1A20BFC713C}"/>
              </a:ext>
            </a:extLst>
          </p:cNvPr>
          <p:cNvSpPr/>
          <p:nvPr/>
        </p:nvSpPr>
        <p:spPr>
          <a:xfrm>
            <a:off x="4865176" y="832376"/>
            <a:ext cx="2685448" cy="900247"/>
          </a:xfrm>
          <a:prstGeom prst="rect">
            <a:avLst/>
          </a:prstGeom>
          <a:solidFill>
            <a:srgbClr val="F3F3FF">
              <a:alpha val="87059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0" rIns="0" bIns="0"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600" b="1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A</a:t>
            </a: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DVERTISING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A118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391B83-AF18-9F1A-D614-DC1B68B49C5A}"/>
              </a:ext>
            </a:extLst>
          </p:cNvPr>
          <p:cNvSpPr/>
          <p:nvPr/>
        </p:nvSpPr>
        <p:spPr>
          <a:xfrm>
            <a:off x="4865176" y="1850623"/>
            <a:ext cx="2685448" cy="900247"/>
          </a:xfrm>
          <a:prstGeom prst="rect">
            <a:avLst/>
          </a:prstGeom>
          <a:solidFill>
            <a:srgbClr val="F3F3FF">
              <a:alpha val="87059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0" rIns="0" bIns="0"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600" b="1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M</a:t>
            </a: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ANAGEMENT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A118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2F475A8D-7EAB-8C93-C738-D990CD24E88B}"/>
              </a:ext>
            </a:extLst>
          </p:cNvPr>
          <p:cNvSpPr/>
          <p:nvPr/>
        </p:nvSpPr>
        <p:spPr>
          <a:xfrm>
            <a:off x="4865176" y="2868870"/>
            <a:ext cx="2685448" cy="900247"/>
          </a:xfrm>
          <a:prstGeom prst="rect">
            <a:avLst/>
          </a:prstGeom>
          <a:solidFill>
            <a:srgbClr val="F3F3FF">
              <a:alpha val="87059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0" rIns="0" bIns="0"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600" b="1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I</a:t>
            </a: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NTEGRATION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A118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31FCDA70-C773-3061-B255-A5F385863F15}"/>
              </a:ext>
            </a:extLst>
          </p:cNvPr>
          <p:cNvSpPr/>
          <p:nvPr/>
        </p:nvSpPr>
        <p:spPr>
          <a:xfrm>
            <a:off x="4865176" y="3887117"/>
            <a:ext cx="2685448" cy="900247"/>
          </a:xfrm>
          <a:prstGeom prst="rect">
            <a:avLst/>
          </a:prstGeom>
          <a:solidFill>
            <a:srgbClr val="F3F3FF">
              <a:alpha val="87059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4000" tIns="0" rIns="0" bIns="0" rtlCol="0" anchor="ctr"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55C9B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E</a:t>
            </a:r>
            <a:r>
              <a:rPr kumimoji="0" lang="it-IT" sz="3600" b="1" i="0" u="none" strike="noStrike" kern="1200" cap="none" spc="0" normalizeH="0" baseline="0" noProof="0">
                <a:ln>
                  <a:noFill/>
                </a:ln>
                <a:solidFill>
                  <a:srgbClr val="55C9B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X</a:t>
            </a: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55C9B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</a:rPr>
              <a:t>PERIENCE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55C9B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</a:endParaRPr>
          </a:p>
        </p:txBody>
      </p:sp>
      <p:pic>
        <p:nvPicPr>
          <p:cNvPr id="10" name="Immagine 9" descr="Immagine che contiene testo, computer, Dispositivo di output, Visualizzatore&#10;&#10;Descrizione generata automaticamente">
            <a:extLst>
              <a:ext uri="{FF2B5EF4-FFF2-40B4-BE49-F238E27FC236}">
                <a16:creationId xmlns:a16="http://schemas.microsoft.com/office/drawing/2014/main" id="{1D8A32F7-0E1C-9B9C-1A9F-516F48FDED0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4580" y="1186247"/>
            <a:ext cx="5547653" cy="3697511"/>
          </a:xfrm>
          <a:prstGeom prst="rect">
            <a:avLst/>
          </a:prstGeom>
        </p:spPr>
      </p:pic>
      <p:pic>
        <p:nvPicPr>
          <p:cNvPr id="12" name="Immagine 11" descr="Immagine che contiene Elementi grafici, Carattere, grafica, schermata&#10;&#10;Descrizione generata automaticamente">
            <a:extLst>
              <a:ext uri="{FF2B5EF4-FFF2-40B4-BE49-F238E27FC236}">
                <a16:creationId xmlns:a16="http://schemas.microsoft.com/office/drawing/2014/main" id="{4EE2FE8A-60BD-D079-EFAA-30BCE9A9BA0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750"/>
          <a:stretch/>
        </p:blipFill>
        <p:spPr>
          <a:xfrm>
            <a:off x="994188" y="2049581"/>
            <a:ext cx="2372221" cy="840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496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tangolo 11">
            <a:extLst>
              <a:ext uri="{FF2B5EF4-FFF2-40B4-BE49-F238E27FC236}">
                <a16:creationId xmlns:a16="http://schemas.microsoft.com/office/drawing/2014/main" id="{3D67F115-D50D-D1F2-DF48-FB036F60113A}"/>
              </a:ext>
            </a:extLst>
          </p:cNvPr>
          <p:cNvSpPr>
            <a:spLocks/>
          </p:cNvSpPr>
          <p:nvPr/>
        </p:nvSpPr>
        <p:spPr>
          <a:xfrm>
            <a:off x="0" y="1992429"/>
            <a:ext cx="9144000" cy="27817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" name="CasellaDiTesto 4">
            <a:extLst>
              <a:ext uri="{FF2B5EF4-FFF2-40B4-BE49-F238E27FC236}">
                <a16:creationId xmlns:a16="http://schemas.microsoft.com/office/drawing/2014/main" id="{2269FFFF-5780-5456-8A6A-1ADAD5998E62}"/>
              </a:ext>
            </a:extLst>
          </p:cNvPr>
          <p:cNvSpPr txBox="1"/>
          <p:nvPr/>
        </p:nvSpPr>
        <p:spPr>
          <a:xfrm>
            <a:off x="527605" y="1119112"/>
            <a:ext cx="7827123" cy="61555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biamo intrapreso un percorso di trasformazione basato su </a:t>
            </a: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ovi processi, dati e tecnologia avanzata</a:t>
            </a:r>
          </a:p>
        </p:txBody>
      </p:sp>
      <p:sp>
        <p:nvSpPr>
          <p:cNvPr id="5" name="CasellaDiTesto 6">
            <a:extLst>
              <a:ext uri="{FF2B5EF4-FFF2-40B4-BE49-F238E27FC236}">
                <a16:creationId xmlns:a16="http://schemas.microsoft.com/office/drawing/2014/main" id="{9FB7B26B-A603-28CB-C7B8-28A590C5DF6C}"/>
              </a:ext>
            </a:extLst>
          </p:cNvPr>
          <p:cNvSpPr txBox="1"/>
          <p:nvPr/>
        </p:nvSpPr>
        <p:spPr>
          <a:xfrm>
            <a:off x="527605" y="663538"/>
            <a:ext cx="4044395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24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i ambiti di trasformazione</a:t>
            </a:r>
            <a:endParaRPr kumimoji="0" lang="it-IT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CE86B99-47AD-0179-C1DE-E17C86710B90}"/>
              </a:ext>
            </a:extLst>
          </p:cNvPr>
          <p:cNvSpPr/>
          <p:nvPr/>
        </p:nvSpPr>
        <p:spPr>
          <a:xfrm>
            <a:off x="1194590" y="2343616"/>
            <a:ext cx="3270308" cy="1969771"/>
          </a:xfrm>
          <a:prstGeom prst="rect">
            <a:avLst/>
          </a:prstGeom>
          <a:gradFill>
            <a:gsLst>
              <a:gs pos="100000">
                <a:srgbClr val="55C9B4"/>
              </a:gs>
              <a:gs pos="0">
                <a:srgbClr val="59118E"/>
              </a:gs>
            </a:gsLst>
            <a:lin ang="16200000" scaled="0"/>
          </a:gradFill>
          <a:ln>
            <a:solidFill>
              <a:schemeClr val="bg1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-11" algn="ctr" defTabSz="91437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99"/>
              </a:buClr>
              <a:buSzTx/>
              <a:buFontTx/>
              <a:buNone/>
              <a:tabLst/>
              <a:defRPr/>
            </a:pPr>
            <a:endParaRPr kumimoji="0" lang="it-IT" sz="1600" b="1" i="0" u="none" strike="noStrike" kern="1200" cap="none" spc="0" normalizeH="0" baseline="0" noProof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7FF00FC-16B5-54C5-67F9-B604B8300DD9}"/>
              </a:ext>
            </a:extLst>
          </p:cNvPr>
          <p:cNvSpPr/>
          <p:nvPr/>
        </p:nvSpPr>
        <p:spPr>
          <a:xfrm>
            <a:off x="4754880" y="2343617"/>
            <a:ext cx="3270308" cy="1969770"/>
          </a:xfrm>
          <a:prstGeom prst="rect">
            <a:avLst/>
          </a:prstGeom>
          <a:gradFill>
            <a:gsLst>
              <a:gs pos="100000">
                <a:srgbClr val="55C9B4"/>
              </a:gs>
              <a:gs pos="0">
                <a:srgbClr val="59118E"/>
              </a:gs>
            </a:gsLst>
            <a:lin ang="16200000" scaled="0"/>
          </a:gradFill>
          <a:ln>
            <a:solidFill>
              <a:schemeClr val="bg1"/>
            </a:solidFill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-11" algn="ctr" defTabSz="91437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99"/>
              </a:buClr>
              <a:buSzTx/>
              <a:buFontTx/>
              <a:buNone/>
              <a:tabLst/>
              <a:defRPr/>
            </a:pPr>
            <a:endParaRPr kumimoji="0" lang="it-IT" sz="1600" b="1" i="0" u="none" strike="noStrike" kern="1200" cap="none" spc="0" normalizeH="0" baseline="0" noProof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</a:endParaRP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157BE5DF-D0F5-B5C9-7925-84551966F22A}"/>
              </a:ext>
            </a:extLst>
          </p:cNvPr>
          <p:cNvSpPr/>
          <p:nvPr/>
        </p:nvSpPr>
        <p:spPr>
          <a:xfrm>
            <a:off x="1372419" y="2505847"/>
            <a:ext cx="2914650" cy="164530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-11" algn="ctr" defTabSz="91437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99"/>
              </a:buClr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 DEFINIZIONE DEL NUOVO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DELLO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I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ENDITA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OSS-MEDIALE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 </a:t>
            </a:r>
            <a:b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I RELATIVI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CESSI</a:t>
            </a:r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FF805204-C021-A020-47D2-E82FD1952946}"/>
              </a:ext>
            </a:extLst>
          </p:cNvPr>
          <p:cNvSpPr/>
          <p:nvPr/>
        </p:nvSpPr>
        <p:spPr>
          <a:xfrm>
            <a:off x="4932709" y="2505848"/>
            <a:ext cx="2914650" cy="164530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-11" algn="ctr" defTabSz="91437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99"/>
              </a:buClr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 PROGETTAZIONE DI UN </a:t>
            </a: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OVO SISTEMA DI </a:t>
            </a:r>
            <a:br>
              <a:rPr lang="it-IT" sz="1400" b="1" noProof="0">
                <a:solidFill>
                  <a:srgbClr val="5A118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ESTIONE DELLA PUBBLICITÀ 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 TUTTI I MEZZI </a:t>
            </a:r>
            <a:r>
              <a:rPr lang="it-IT" sz="1400">
                <a:solidFill>
                  <a:srgbClr val="5A1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 EDITORI</a:t>
            </a:r>
            <a:endParaRPr kumimoji="0" lang="it-IT" sz="1400" b="0" i="0" u="none" strike="noStrike" kern="1200" cap="none" spc="0" normalizeH="0" baseline="0" noProof="0">
              <a:ln>
                <a:noFill/>
              </a:ln>
              <a:solidFill>
                <a:srgbClr val="5A118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58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D44C1FB-4CA2-C939-6F10-113A5CCFE5D8}"/>
              </a:ext>
            </a:extLst>
          </p:cNvPr>
          <p:cNvSpPr/>
          <p:nvPr/>
        </p:nvSpPr>
        <p:spPr>
          <a:xfrm>
            <a:off x="1" y="1347536"/>
            <a:ext cx="9144000" cy="37959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CasellaDiTesto 6">
            <a:extLst>
              <a:ext uri="{FF2B5EF4-FFF2-40B4-BE49-F238E27FC236}">
                <a16:creationId xmlns:a16="http://schemas.microsoft.com/office/drawing/2014/main" id="{9FB7B26B-A603-28CB-C7B8-28A590C5DF6C}"/>
              </a:ext>
            </a:extLst>
          </p:cNvPr>
          <p:cNvSpPr txBox="1"/>
          <p:nvPr/>
        </p:nvSpPr>
        <p:spPr>
          <a:xfrm>
            <a:off x="527605" y="663538"/>
            <a:ext cx="4044395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i obiettivi del progetto</a:t>
            </a:r>
          </a:p>
        </p:txBody>
      </p:sp>
      <p:pic>
        <p:nvPicPr>
          <p:cNvPr id="2" name="Picture 2" descr="Abstract Athlete archery man with Arrow and target in games">
            <a:extLst>
              <a:ext uri="{FF2B5EF4-FFF2-40B4-BE49-F238E27FC236}">
                <a16:creationId xmlns:a16="http://schemas.microsoft.com/office/drawing/2014/main" id="{99ED9AE9-F7CE-955B-9AAF-46509F6BA6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1"/>
          <a:stretch/>
        </p:blipFill>
        <p:spPr bwMode="auto">
          <a:xfrm>
            <a:off x="124203" y="1850864"/>
            <a:ext cx="3852117" cy="2789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39EA8F44-1CC2-F1EC-D75D-052C603D566D}"/>
              </a:ext>
            </a:extLst>
          </p:cNvPr>
          <p:cNvSpPr txBox="1"/>
          <p:nvPr/>
        </p:nvSpPr>
        <p:spPr>
          <a:xfrm>
            <a:off x="4380972" y="1729888"/>
            <a:ext cx="493776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-11" defTabSz="91437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99"/>
              </a:buClr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SSIMIZZAZIONE DELLA </a:t>
            </a:r>
            <a:b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DDITIVITÀ DEI BACINI</a:t>
            </a: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C0725331-8860-220D-6D8A-37F4183821C4}"/>
              </a:ext>
            </a:extLst>
          </p:cNvPr>
          <p:cNvSpPr txBox="1"/>
          <p:nvPr/>
        </p:nvSpPr>
        <p:spPr>
          <a:xfrm>
            <a:off x="4380972" y="2750982"/>
            <a:ext cx="472615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-11" defTabSz="91437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99"/>
              </a:buClr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FERTA DI QUALITÀ </a:t>
            </a:r>
            <a:r>
              <a:rPr kumimoji="0" lang="it-IT" sz="1600" b="0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PPORTATA DA </a:t>
            </a:r>
            <a:r>
              <a:rPr kumimoji="0" lang="it-IT" sz="1600" b="1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STEMI ALL’AVANGUARDIA</a:t>
            </a: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18A9D37A-E92D-A99A-5F9F-436FE3DBF6A7}"/>
              </a:ext>
            </a:extLst>
          </p:cNvPr>
          <p:cNvSpPr txBox="1"/>
          <p:nvPr/>
        </p:nvSpPr>
        <p:spPr>
          <a:xfrm>
            <a:off x="4380972" y="3795708"/>
            <a:ext cx="447949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-11" defTabSz="91437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99"/>
              </a:buClr>
              <a:buSzTx/>
              <a:buFontTx/>
              <a:buNone/>
              <a:tabLst/>
              <a:defRPr/>
            </a:pPr>
            <a:r>
              <a:rPr lang="it-IT" sz="1600" b="1">
                <a:solidFill>
                  <a:srgbClr val="5A1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OZIONE DI UN MODELLO DATA-DRIVEN </a:t>
            </a:r>
            <a:r>
              <a:rPr lang="it-IT" sz="1600">
                <a:solidFill>
                  <a:srgbClr val="5A1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SOSTENERE IL VANTAGGIO COMPETITIVO</a:t>
            </a:r>
          </a:p>
        </p:txBody>
      </p:sp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6207A913-B153-4758-2642-5F5F4806E69E}"/>
              </a:ext>
            </a:extLst>
          </p:cNvPr>
          <p:cNvSpPr txBox="1"/>
          <p:nvPr/>
        </p:nvSpPr>
        <p:spPr>
          <a:xfrm>
            <a:off x="3775514" y="1682623"/>
            <a:ext cx="111171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it-IT" sz="4000" b="1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</a:t>
            </a:r>
            <a:endParaRPr lang="it-IT" sz="4000" b="1"/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5E251906-63AB-3809-9A8E-B2A9B4EBDA36}"/>
              </a:ext>
            </a:extLst>
          </p:cNvPr>
          <p:cNvSpPr txBox="1"/>
          <p:nvPr/>
        </p:nvSpPr>
        <p:spPr>
          <a:xfrm>
            <a:off x="3775514" y="2727349"/>
            <a:ext cx="111171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4000" b="1">
                <a:solidFill>
                  <a:srgbClr val="5A1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kumimoji="0" lang="it-IT" sz="4000" b="1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lang="it-IT" sz="4000" b="1"/>
          </a:p>
        </p:txBody>
      </p:sp>
      <p:sp>
        <p:nvSpPr>
          <p:cNvPr id="39" name="CasellaDiTesto 38">
            <a:extLst>
              <a:ext uri="{FF2B5EF4-FFF2-40B4-BE49-F238E27FC236}">
                <a16:creationId xmlns:a16="http://schemas.microsoft.com/office/drawing/2014/main" id="{21771B3E-F286-5ECE-B783-B54C2B4D5992}"/>
              </a:ext>
            </a:extLst>
          </p:cNvPr>
          <p:cNvSpPr txBox="1"/>
          <p:nvPr/>
        </p:nvSpPr>
        <p:spPr>
          <a:xfrm>
            <a:off x="3775514" y="3772076"/>
            <a:ext cx="111171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it-IT" sz="4000" b="1" i="0" u="none" strike="noStrike" kern="1200" cap="none" spc="0" normalizeH="0" baseline="0" noProof="0">
                <a:ln>
                  <a:noFill/>
                </a:ln>
                <a:solidFill>
                  <a:srgbClr val="5A118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</a:t>
            </a:r>
            <a:endParaRPr lang="it-IT" sz="4000" b="1"/>
          </a:p>
        </p:txBody>
      </p:sp>
    </p:spTree>
    <p:extLst>
      <p:ext uri="{BB962C8B-B14F-4D97-AF65-F5344CB8AC3E}">
        <p14:creationId xmlns:p14="http://schemas.microsoft.com/office/powerpoint/2010/main" val="2810873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D44C1FB-4CA2-C939-6F10-113A5CCFE5D8}"/>
              </a:ext>
            </a:extLst>
          </p:cNvPr>
          <p:cNvSpPr/>
          <p:nvPr/>
        </p:nvSpPr>
        <p:spPr>
          <a:xfrm>
            <a:off x="4458755" y="0"/>
            <a:ext cx="4685247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" name="CasellaDiTesto 6">
            <a:extLst>
              <a:ext uri="{FF2B5EF4-FFF2-40B4-BE49-F238E27FC236}">
                <a16:creationId xmlns:a16="http://schemas.microsoft.com/office/drawing/2014/main" id="{9FB7B26B-A603-28CB-C7B8-28A590C5DF6C}"/>
              </a:ext>
            </a:extLst>
          </p:cNvPr>
          <p:cNvSpPr txBox="1"/>
          <p:nvPr/>
        </p:nvSpPr>
        <p:spPr>
          <a:xfrm>
            <a:off x="527606" y="663539"/>
            <a:ext cx="4044395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378">
              <a:defRPr/>
            </a:pPr>
            <a:r>
              <a:rPr lang="it-IT" sz="24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ano di progetto</a:t>
            </a:r>
          </a:p>
        </p:txBody>
      </p:sp>
      <p:graphicFrame>
        <p:nvGraphicFramePr>
          <p:cNvPr id="2" name="Table 134">
            <a:extLst>
              <a:ext uri="{FF2B5EF4-FFF2-40B4-BE49-F238E27FC236}">
                <a16:creationId xmlns:a16="http://schemas.microsoft.com/office/drawing/2014/main" id="{B8CB1BF4-D65D-E327-1C9A-35DCD2F834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3442882"/>
              </p:ext>
            </p:extLst>
          </p:nvPr>
        </p:nvGraphicFramePr>
        <p:xfrm>
          <a:off x="188107" y="1383234"/>
          <a:ext cx="4906833" cy="3621642"/>
        </p:xfrm>
        <a:graphic>
          <a:graphicData uri="http://schemas.openxmlformats.org/drawingml/2006/table">
            <a:tbl>
              <a:tblPr firstRow="1"/>
              <a:tblGrid>
                <a:gridCol w="272537">
                  <a:extLst>
                    <a:ext uri="{9D8B030D-6E8A-4147-A177-3AD203B41FA5}">
                      <a16:colId xmlns:a16="http://schemas.microsoft.com/office/drawing/2014/main" val="250608780"/>
                    </a:ext>
                  </a:extLst>
                </a:gridCol>
                <a:gridCol w="272537">
                  <a:extLst>
                    <a:ext uri="{9D8B030D-6E8A-4147-A177-3AD203B41FA5}">
                      <a16:colId xmlns:a16="http://schemas.microsoft.com/office/drawing/2014/main" val="303434546"/>
                    </a:ext>
                  </a:extLst>
                </a:gridCol>
                <a:gridCol w="272537">
                  <a:extLst>
                    <a:ext uri="{9D8B030D-6E8A-4147-A177-3AD203B41FA5}">
                      <a16:colId xmlns:a16="http://schemas.microsoft.com/office/drawing/2014/main" val="2620937549"/>
                    </a:ext>
                  </a:extLst>
                </a:gridCol>
                <a:gridCol w="272537">
                  <a:extLst>
                    <a:ext uri="{9D8B030D-6E8A-4147-A177-3AD203B41FA5}">
                      <a16:colId xmlns:a16="http://schemas.microsoft.com/office/drawing/2014/main" val="1547627455"/>
                    </a:ext>
                  </a:extLst>
                </a:gridCol>
                <a:gridCol w="272537">
                  <a:extLst>
                    <a:ext uri="{9D8B030D-6E8A-4147-A177-3AD203B41FA5}">
                      <a16:colId xmlns:a16="http://schemas.microsoft.com/office/drawing/2014/main" val="1785111896"/>
                    </a:ext>
                  </a:extLst>
                </a:gridCol>
                <a:gridCol w="272537">
                  <a:extLst>
                    <a:ext uri="{9D8B030D-6E8A-4147-A177-3AD203B41FA5}">
                      <a16:colId xmlns:a16="http://schemas.microsoft.com/office/drawing/2014/main" val="1924436347"/>
                    </a:ext>
                  </a:extLst>
                </a:gridCol>
                <a:gridCol w="272537">
                  <a:extLst>
                    <a:ext uri="{9D8B030D-6E8A-4147-A177-3AD203B41FA5}">
                      <a16:colId xmlns:a16="http://schemas.microsoft.com/office/drawing/2014/main" val="434840699"/>
                    </a:ext>
                  </a:extLst>
                </a:gridCol>
                <a:gridCol w="272537">
                  <a:extLst>
                    <a:ext uri="{9D8B030D-6E8A-4147-A177-3AD203B41FA5}">
                      <a16:colId xmlns:a16="http://schemas.microsoft.com/office/drawing/2014/main" val="1054539289"/>
                    </a:ext>
                  </a:extLst>
                </a:gridCol>
                <a:gridCol w="272537">
                  <a:extLst>
                    <a:ext uri="{9D8B030D-6E8A-4147-A177-3AD203B41FA5}">
                      <a16:colId xmlns:a16="http://schemas.microsoft.com/office/drawing/2014/main" val="459748997"/>
                    </a:ext>
                  </a:extLst>
                </a:gridCol>
                <a:gridCol w="272537">
                  <a:extLst>
                    <a:ext uri="{9D8B030D-6E8A-4147-A177-3AD203B41FA5}">
                      <a16:colId xmlns:a16="http://schemas.microsoft.com/office/drawing/2014/main" val="2284536511"/>
                    </a:ext>
                  </a:extLst>
                </a:gridCol>
                <a:gridCol w="272537">
                  <a:extLst>
                    <a:ext uri="{9D8B030D-6E8A-4147-A177-3AD203B41FA5}">
                      <a16:colId xmlns:a16="http://schemas.microsoft.com/office/drawing/2014/main" val="1695773371"/>
                    </a:ext>
                  </a:extLst>
                </a:gridCol>
                <a:gridCol w="272537">
                  <a:extLst>
                    <a:ext uri="{9D8B030D-6E8A-4147-A177-3AD203B41FA5}">
                      <a16:colId xmlns:a16="http://schemas.microsoft.com/office/drawing/2014/main" val="2018382407"/>
                    </a:ext>
                  </a:extLst>
                </a:gridCol>
                <a:gridCol w="272537">
                  <a:extLst>
                    <a:ext uri="{9D8B030D-6E8A-4147-A177-3AD203B41FA5}">
                      <a16:colId xmlns:a16="http://schemas.microsoft.com/office/drawing/2014/main" val="1949703175"/>
                    </a:ext>
                  </a:extLst>
                </a:gridCol>
                <a:gridCol w="272537">
                  <a:extLst>
                    <a:ext uri="{9D8B030D-6E8A-4147-A177-3AD203B41FA5}">
                      <a16:colId xmlns:a16="http://schemas.microsoft.com/office/drawing/2014/main" val="685707978"/>
                    </a:ext>
                  </a:extLst>
                </a:gridCol>
                <a:gridCol w="272537">
                  <a:extLst>
                    <a:ext uri="{9D8B030D-6E8A-4147-A177-3AD203B41FA5}">
                      <a16:colId xmlns:a16="http://schemas.microsoft.com/office/drawing/2014/main" val="2811692909"/>
                    </a:ext>
                  </a:extLst>
                </a:gridCol>
                <a:gridCol w="272537">
                  <a:extLst>
                    <a:ext uri="{9D8B030D-6E8A-4147-A177-3AD203B41FA5}">
                      <a16:colId xmlns:a16="http://schemas.microsoft.com/office/drawing/2014/main" val="2680801627"/>
                    </a:ext>
                  </a:extLst>
                </a:gridCol>
                <a:gridCol w="272537">
                  <a:extLst>
                    <a:ext uri="{9D8B030D-6E8A-4147-A177-3AD203B41FA5}">
                      <a16:colId xmlns:a16="http://schemas.microsoft.com/office/drawing/2014/main" val="67817521"/>
                    </a:ext>
                  </a:extLst>
                </a:gridCol>
                <a:gridCol w="273704">
                  <a:extLst>
                    <a:ext uri="{9D8B030D-6E8A-4147-A177-3AD203B41FA5}">
                      <a16:colId xmlns:a16="http://schemas.microsoft.com/office/drawing/2014/main" val="3593738868"/>
                    </a:ext>
                  </a:extLst>
                </a:gridCol>
              </a:tblGrid>
              <a:tr h="296234">
                <a:tc gridSpan="6"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Arial"/>
                          <a:cs typeface="Arial"/>
                        </a:rPr>
                        <a:t>2024</a:t>
                      </a:r>
                    </a:p>
                  </a:txBody>
                  <a:tcPr marL="8193" marR="8193" marT="8193" marB="0" anchor="ctr">
                    <a:lnL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Arial"/>
                        <a:cs typeface="Arial"/>
                      </a:endParaRPr>
                    </a:p>
                  </a:txBody>
                  <a:tcPr marL="6495" marR="6495" marT="649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09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Arial"/>
                        <a:cs typeface="Arial"/>
                      </a:endParaRPr>
                    </a:p>
                  </a:txBody>
                  <a:tcPr marL="6495" marR="6495" marT="649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090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Arial"/>
                        <a:cs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09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Arial"/>
                        <a:cs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09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Arial"/>
                        <a:cs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090"/>
                    </a:solidFill>
                  </a:tcPr>
                </a:tc>
                <a:tc gridSpan="12"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cs typeface="Arial"/>
                        </a:rPr>
                        <a:t>2025</a:t>
                      </a:r>
                      <a:endParaRPr kumimoji="0" lang="en-US" sz="9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Arial"/>
                        <a:cs typeface="Arial"/>
                      </a:endParaRPr>
                    </a:p>
                  </a:txBody>
                  <a:tcPr marL="6148" marR="6148" marT="6148" marB="0" anchor="ctr">
                    <a:lnL w="12700" cap="flat" cmpd="sng" algn="ctr">
                      <a:solidFill>
                        <a:srgbClr val="0000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Arial"/>
                        <a:cs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090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/>
                    </a:p>
                  </a:txBody>
                  <a:tcPr marL="6170" marR="6170" marT="617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09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Arial"/>
                        <a:cs typeface="Arial"/>
                      </a:endParaRPr>
                    </a:p>
                  </a:txBody>
                  <a:tcPr marL="6495" marR="6495" marT="649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09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Arial"/>
                        <a:cs typeface="Arial"/>
                      </a:endParaRPr>
                    </a:p>
                  </a:txBody>
                  <a:tcPr marL="6495" marR="6495" marT="649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09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Arial"/>
                        <a:cs typeface="Arial"/>
                      </a:endParaRPr>
                    </a:p>
                  </a:txBody>
                  <a:tcPr marL="6495" marR="6495" marT="649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09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Arial"/>
                        <a:cs typeface="Arial"/>
                      </a:endParaRPr>
                    </a:p>
                  </a:txBody>
                  <a:tcPr marL="6495" marR="6495" marT="649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090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Arial"/>
                        <a:cs typeface="Arial"/>
                      </a:endParaRPr>
                    </a:p>
                  </a:txBody>
                  <a:tcPr marL="6170" marR="6170" marT="617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09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Arial"/>
                        <a:cs typeface="Arial"/>
                      </a:endParaRPr>
                    </a:p>
                  </a:txBody>
                  <a:tcPr marL="6495" marR="6495" marT="649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09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Arial"/>
                        <a:cs typeface="Arial"/>
                      </a:endParaRPr>
                    </a:p>
                  </a:txBody>
                  <a:tcPr marL="6495" marR="6495" marT="649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09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raphik" panose="020B0503030202060203" pitchFamily="34" charset="0"/>
                        <a:ea typeface="Arial"/>
                        <a:cs typeface="Arial"/>
                      </a:endParaRPr>
                    </a:p>
                  </a:txBody>
                  <a:tcPr marL="6495" marR="6495" marT="649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090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/>
                    </a:p>
                  </a:txBody>
                  <a:tcPr marL="4630" marR="4630" marT="463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800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3884638"/>
                  </a:ext>
                </a:extLst>
              </a:tr>
              <a:tr h="2962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Arial"/>
                          <a:cs typeface="Arial"/>
                        </a:rPr>
                        <a:t>Lug</a:t>
                      </a:r>
                    </a:p>
                  </a:txBody>
                  <a:tcPr marL="3569" marR="3569" marT="3569" marB="0" anchor="ctr">
                    <a:lnL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1A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Arial"/>
                          <a:cs typeface="Arial"/>
                        </a:rPr>
                        <a:t>Ago</a:t>
                      </a:r>
                    </a:p>
                  </a:txBody>
                  <a:tcPr marL="3569" marR="3569" marT="3569" marB="0" anchor="ctr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1A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Sett</a:t>
                      </a:r>
                    </a:p>
                  </a:txBody>
                  <a:tcPr marL="3569" marR="3569" marT="3569" marB="0" anchor="ctr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1A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Ott</a:t>
                      </a:r>
                    </a:p>
                  </a:txBody>
                  <a:tcPr marL="3569" marR="3569" marT="3569" marB="0" anchor="ctr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1A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Nov</a:t>
                      </a:r>
                    </a:p>
                  </a:txBody>
                  <a:tcPr marL="3569" marR="3569" marT="3569" marB="0" anchor="ctr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1A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Arial"/>
                          <a:cs typeface="Arial"/>
                        </a:rPr>
                        <a:t>Dic</a:t>
                      </a:r>
                    </a:p>
                  </a:txBody>
                  <a:tcPr marL="3569" marR="3569" marT="3569" marB="0" anchor="ctr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1A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Arial"/>
                          <a:cs typeface="Arial"/>
                        </a:rPr>
                        <a:t>Gen</a:t>
                      </a:r>
                    </a:p>
                  </a:txBody>
                  <a:tcPr marL="3569" marR="3569" marT="3569" marB="0" anchor="ctr">
                    <a:lnL w="12700" cap="flat" cmpd="sng" algn="ctr">
                      <a:solidFill>
                        <a:srgbClr val="0000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1A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Arial"/>
                          <a:cs typeface="Arial"/>
                        </a:rPr>
                        <a:t>Feb</a:t>
                      </a:r>
                    </a:p>
                  </a:txBody>
                  <a:tcPr marL="3569" marR="3569" marT="3569" marB="0" anchor="ctr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1A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Arial"/>
                          <a:cs typeface="Arial"/>
                        </a:rPr>
                        <a:t>Mar</a:t>
                      </a:r>
                    </a:p>
                  </a:txBody>
                  <a:tcPr marL="3569" marR="3569" marT="3569" marB="0" anchor="ctr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1A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Arial"/>
                          <a:cs typeface="Arial"/>
                        </a:rPr>
                        <a:t>Apr</a:t>
                      </a:r>
                    </a:p>
                  </a:txBody>
                  <a:tcPr marL="3569" marR="3569" marT="3569" marB="0" anchor="ctr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1A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Arial"/>
                          <a:cs typeface="Arial"/>
                        </a:rPr>
                        <a:t>Mag</a:t>
                      </a:r>
                    </a:p>
                  </a:txBody>
                  <a:tcPr marL="3569" marR="3569" marT="3569" marB="0" anchor="ctr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1A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Arial"/>
                          <a:cs typeface="Arial"/>
                        </a:rPr>
                        <a:t>Giu</a:t>
                      </a:r>
                    </a:p>
                  </a:txBody>
                  <a:tcPr marL="3569" marR="3569" marT="3569" marB="0" anchor="ctr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1A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Arial"/>
                          <a:cs typeface="Arial"/>
                        </a:rPr>
                        <a:t>Lug</a:t>
                      </a:r>
                    </a:p>
                  </a:txBody>
                  <a:tcPr marL="3569" marR="3569" marT="3569" marB="0" anchor="ctr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1A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Arial"/>
                          <a:cs typeface="Arial"/>
                        </a:rPr>
                        <a:t>Ago</a:t>
                      </a:r>
                    </a:p>
                  </a:txBody>
                  <a:tcPr marL="3569" marR="3569" marT="3569" marB="0" anchor="ctr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1A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Sett</a:t>
                      </a:r>
                    </a:p>
                  </a:txBody>
                  <a:tcPr marL="3569" marR="3569" marT="3569" marB="0" anchor="ctr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1A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Ott</a:t>
                      </a:r>
                    </a:p>
                  </a:txBody>
                  <a:tcPr marL="3569" marR="3569" marT="3569" marB="0" anchor="ctr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1A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Nov</a:t>
                      </a:r>
                    </a:p>
                  </a:txBody>
                  <a:tcPr marL="3569" marR="3569" marT="3569" marB="0" anchor="ctr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1A8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37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6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Arial"/>
                          <a:cs typeface="Arial"/>
                        </a:rPr>
                        <a:t>Dic</a:t>
                      </a:r>
                    </a:p>
                  </a:txBody>
                  <a:tcPr marL="3569" marR="3569" marT="3569" marB="0" anchor="ctr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11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1A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291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 lang="en-US" sz="900">
                        <a:latin typeface="Century Gothic" panose="020B0502020202020204" pitchFamily="34" charset="0"/>
                      </a:endParaRPr>
                    </a:p>
                  </a:txBody>
                  <a:tcPr marL="3569" marR="3569" marT="3569" marB="0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 lang="en-US" sz="900">
                        <a:latin typeface="Century Gothic" panose="020B0502020202020204" pitchFamily="34" charset="0"/>
                      </a:endParaRPr>
                    </a:p>
                  </a:txBody>
                  <a:tcPr marL="3569" marR="3569" marT="3569" marB="0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 lang="en-US" sz="900">
                        <a:latin typeface="Century Gothic" panose="020B0502020202020204" pitchFamily="34" charset="0"/>
                      </a:endParaRPr>
                    </a:p>
                  </a:txBody>
                  <a:tcPr marL="3569" marR="3569" marT="3569" marB="0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 lang="en-US" sz="900">
                        <a:latin typeface="Century Gothic" panose="020B0502020202020204" pitchFamily="34" charset="0"/>
                      </a:endParaRPr>
                    </a:p>
                  </a:txBody>
                  <a:tcPr marL="3569" marR="3569" marT="3569" marB="0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 lang="en-US" sz="900">
                        <a:latin typeface="Century Gothic" panose="020B0502020202020204" pitchFamily="34" charset="0"/>
                      </a:endParaRPr>
                    </a:p>
                  </a:txBody>
                  <a:tcPr marL="3569" marR="3569" marT="3569" marB="0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 lang="en-US" sz="900">
                        <a:latin typeface="Century Gothic" panose="020B0502020202020204" pitchFamily="34" charset="0"/>
                      </a:endParaRPr>
                    </a:p>
                  </a:txBody>
                  <a:tcPr marL="3569" marR="3569" marT="3569" marB="0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 lang="en-US" sz="900">
                        <a:latin typeface="Century Gothic" panose="020B0502020202020204" pitchFamily="34" charset="0"/>
                      </a:endParaRPr>
                    </a:p>
                  </a:txBody>
                  <a:tcPr marL="3569" marR="3569" marT="3569" marB="0">
                    <a:lnL w="12700" cap="flat" cmpd="sng" algn="ctr">
                      <a:solidFill>
                        <a:srgbClr val="0000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900">
                        <a:latin typeface="Century Gothic" panose="020B0502020202020204" pitchFamily="34" charset="0"/>
                      </a:endParaRPr>
                    </a:p>
                  </a:txBody>
                  <a:tcPr marL="3569" marR="3569" marT="3569" marB="0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 lang="en-US" sz="900">
                        <a:latin typeface="Century Gothic" panose="020B0502020202020204" pitchFamily="34" charset="0"/>
                      </a:endParaRPr>
                    </a:p>
                  </a:txBody>
                  <a:tcPr marL="3569" marR="3569" marT="3569" marB="0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 lang="en-US" sz="900">
                        <a:latin typeface="Century Gothic" panose="020B0502020202020204" pitchFamily="34" charset="0"/>
                      </a:endParaRPr>
                    </a:p>
                  </a:txBody>
                  <a:tcPr marL="3569" marR="3569" marT="3569" marB="0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 lang="en-US" sz="900">
                        <a:latin typeface="Century Gothic" panose="020B0502020202020204" pitchFamily="34" charset="0"/>
                      </a:endParaRPr>
                    </a:p>
                  </a:txBody>
                  <a:tcPr marL="3569" marR="3569" marT="3569" marB="0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 lang="en-US" sz="900">
                        <a:latin typeface="Century Gothic" panose="020B0502020202020204" pitchFamily="34" charset="0"/>
                      </a:endParaRPr>
                    </a:p>
                  </a:txBody>
                  <a:tcPr marL="3569" marR="3569" marT="3569" marB="0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 lang="en-US" sz="900">
                        <a:latin typeface="Century Gothic" panose="020B0502020202020204" pitchFamily="34" charset="0"/>
                      </a:endParaRPr>
                    </a:p>
                  </a:txBody>
                  <a:tcPr marL="3569" marR="3569" marT="3569" marB="0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 lang="en-US" sz="900">
                        <a:latin typeface="Century Gothic" panose="020B0502020202020204" pitchFamily="34" charset="0"/>
                      </a:endParaRPr>
                    </a:p>
                  </a:txBody>
                  <a:tcPr marL="3569" marR="3569" marT="3569" marB="0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 lang="en-US" sz="900">
                        <a:latin typeface="Century Gothic" panose="020B0502020202020204" pitchFamily="34" charset="0"/>
                      </a:endParaRPr>
                    </a:p>
                  </a:txBody>
                  <a:tcPr marL="3569" marR="3569" marT="3569" marB="0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 lang="en-US" sz="900">
                        <a:latin typeface="Century Gothic" panose="020B0502020202020204" pitchFamily="34" charset="0"/>
                      </a:endParaRPr>
                    </a:p>
                  </a:txBody>
                  <a:tcPr marL="3569" marR="3569" marT="3569" marB="0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 lang="en-US" sz="900">
                        <a:latin typeface="Century Gothic" panose="020B0502020202020204" pitchFamily="34" charset="0"/>
                      </a:endParaRPr>
                    </a:p>
                  </a:txBody>
                  <a:tcPr marL="3569" marR="3569" marT="3569" marB="0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  <a:ea typeface="Arial"/>
                          <a:cs typeface="Arial"/>
                        </a:defRPr>
                      </a:lvl9pPr>
                    </a:lstStyle>
                    <a:p>
                      <a:endParaRPr lang="en-US" sz="900">
                        <a:latin typeface="Century Gothic" panose="020B0502020202020204" pitchFamily="34" charset="0"/>
                      </a:endParaRPr>
                    </a:p>
                  </a:txBody>
                  <a:tcPr marL="3569" marR="3569" marT="3569" marB="0">
                    <a:lnL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4C8B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77470"/>
                  </a:ext>
                </a:extLst>
              </a:tr>
            </a:tbl>
          </a:graphicData>
        </a:graphic>
      </p:graphicFrame>
      <p:sp>
        <p:nvSpPr>
          <p:cNvPr id="6" name="Arrow: Pentagon 1">
            <a:extLst>
              <a:ext uri="{FF2B5EF4-FFF2-40B4-BE49-F238E27FC236}">
                <a16:creationId xmlns:a16="http://schemas.microsoft.com/office/drawing/2014/main" id="{FE4CBAA8-339B-D78E-0511-7BBB680B4BEF}"/>
              </a:ext>
            </a:extLst>
          </p:cNvPr>
          <p:cNvSpPr/>
          <p:nvPr/>
        </p:nvSpPr>
        <p:spPr>
          <a:xfrm>
            <a:off x="723253" y="3068558"/>
            <a:ext cx="1481948" cy="380643"/>
          </a:xfrm>
          <a:prstGeom prst="homePlate">
            <a:avLst/>
          </a:prstGeom>
          <a:gradFill>
            <a:gsLst>
              <a:gs pos="100000">
                <a:srgbClr val="568DA7"/>
              </a:gs>
              <a:gs pos="0">
                <a:srgbClr val="55A9AD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tIns="68580" bIns="68580" rtlCol="0" anchor="ctr"/>
          <a:lstStyle/>
          <a:p>
            <a:pPr algn="ctr" defTabSz="685783">
              <a:defRPr/>
            </a:pPr>
            <a:r>
              <a:rPr lang="it-IT" sz="788" b="1" ker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Fase 2 - CRM</a:t>
            </a:r>
          </a:p>
        </p:txBody>
      </p:sp>
      <p:sp>
        <p:nvSpPr>
          <p:cNvPr id="7" name="Arrow: Pentagon 1">
            <a:extLst>
              <a:ext uri="{FF2B5EF4-FFF2-40B4-BE49-F238E27FC236}">
                <a16:creationId xmlns:a16="http://schemas.microsoft.com/office/drawing/2014/main" id="{1ABA1A96-BE3C-861F-1A30-46559990D329}"/>
              </a:ext>
            </a:extLst>
          </p:cNvPr>
          <p:cNvSpPr/>
          <p:nvPr/>
        </p:nvSpPr>
        <p:spPr>
          <a:xfrm>
            <a:off x="864382" y="3543611"/>
            <a:ext cx="2147526" cy="380643"/>
          </a:xfrm>
          <a:prstGeom prst="homePlate">
            <a:avLst/>
          </a:prstGeom>
          <a:gradFill>
            <a:gsLst>
              <a:gs pos="100000">
                <a:srgbClr val="57629E"/>
              </a:gs>
              <a:gs pos="0">
                <a:srgbClr val="568DA7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tIns="68580" bIns="68580" rtlCol="0" anchor="ctr"/>
          <a:lstStyle/>
          <a:p>
            <a:pPr algn="ctr" defTabSz="685783">
              <a:defRPr/>
            </a:pPr>
            <a:r>
              <a:rPr lang="it-IT" sz="788" b="1" ker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Fase 3 - DIGITAL </a:t>
            </a:r>
          </a:p>
        </p:txBody>
      </p:sp>
      <p:sp>
        <p:nvSpPr>
          <p:cNvPr id="8" name="Arrow: Pentagon 1">
            <a:extLst>
              <a:ext uri="{FF2B5EF4-FFF2-40B4-BE49-F238E27FC236}">
                <a16:creationId xmlns:a16="http://schemas.microsoft.com/office/drawing/2014/main" id="{8B90F587-75CB-5925-29C1-A4C627FFBCF2}"/>
              </a:ext>
            </a:extLst>
          </p:cNvPr>
          <p:cNvSpPr/>
          <p:nvPr/>
        </p:nvSpPr>
        <p:spPr>
          <a:xfrm>
            <a:off x="1547745" y="4016674"/>
            <a:ext cx="1917434" cy="380643"/>
          </a:xfrm>
          <a:prstGeom prst="homePlate">
            <a:avLst/>
          </a:prstGeom>
          <a:gradFill>
            <a:gsLst>
              <a:gs pos="100000">
                <a:srgbClr val="584799"/>
              </a:gs>
              <a:gs pos="0">
                <a:srgbClr val="57629E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tIns="68580" bIns="68580" rtlCol="0" anchor="ctr"/>
          <a:lstStyle/>
          <a:p>
            <a:pPr algn="ctr" defTabSz="685783">
              <a:defRPr/>
            </a:pPr>
            <a:r>
              <a:rPr lang="it-IT" sz="788" b="1" ker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Fase 4 - DIGITAL INVENTORY</a:t>
            </a:r>
          </a:p>
        </p:txBody>
      </p:sp>
      <p:sp>
        <p:nvSpPr>
          <p:cNvPr id="9" name="Arrow: Pentagon 1">
            <a:extLst>
              <a:ext uri="{FF2B5EF4-FFF2-40B4-BE49-F238E27FC236}">
                <a16:creationId xmlns:a16="http://schemas.microsoft.com/office/drawing/2014/main" id="{0D1F901E-E541-6A4B-0A7A-CB3A18F454E6}"/>
              </a:ext>
            </a:extLst>
          </p:cNvPr>
          <p:cNvSpPr/>
          <p:nvPr/>
        </p:nvSpPr>
        <p:spPr>
          <a:xfrm>
            <a:off x="2365337" y="4491728"/>
            <a:ext cx="2395290" cy="380643"/>
          </a:xfrm>
          <a:prstGeom prst="homePlate">
            <a:avLst/>
          </a:prstGeom>
          <a:gradFill>
            <a:gsLst>
              <a:gs pos="0">
                <a:srgbClr val="592793"/>
              </a:gs>
              <a:gs pos="100000">
                <a:srgbClr val="59118E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tIns="68580" bIns="68580" rtlCol="0" anchor="ctr"/>
          <a:lstStyle/>
          <a:p>
            <a:pPr algn="ctr" defTabSz="685783">
              <a:defRPr/>
            </a:pPr>
            <a:r>
              <a:rPr lang="it-IT" sz="788" b="1" ker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Fase 5 - CROSS-MEDIA </a:t>
            </a:r>
          </a:p>
        </p:txBody>
      </p:sp>
      <p:sp>
        <p:nvSpPr>
          <p:cNvPr id="11" name="Rombo 15">
            <a:extLst>
              <a:ext uri="{FF2B5EF4-FFF2-40B4-BE49-F238E27FC236}">
                <a16:creationId xmlns:a16="http://schemas.microsoft.com/office/drawing/2014/main" id="{1924C46F-6104-C507-B937-9A0BAAB34D43}"/>
              </a:ext>
            </a:extLst>
          </p:cNvPr>
          <p:cNvSpPr/>
          <p:nvPr/>
        </p:nvSpPr>
        <p:spPr>
          <a:xfrm>
            <a:off x="2082954" y="3137907"/>
            <a:ext cx="231338" cy="226788"/>
          </a:xfrm>
          <a:prstGeom prst="diamond">
            <a:avLst/>
          </a:prstGeom>
          <a:solidFill>
            <a:srgbClr val="E660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 defTabSz="914355">
              <a:defRPr/>
            </a:pPr>
            <a:r>
              <a:rPr lang="it-IT" sz="700" b="1">
                <a:solidFill>
                  <a:srgbClr val="59118E"/>
                </a:solidFill>
                <a:latin typeface="Century Gothic" panose="020B0502020202020204" pitchFamily="34" charset="0"/>
                <a:cs typeface="Arial"/>
              </a:rPr>
              <a:t>2</a:t>
            </a:r>
          </a:p>
        </p:txBody>
      </p:sp>
      <p:sp>
        <p:nvSpPr>
          <p:cNvPr id="12" name="Rombo 27">
            <a:extLst>
              <a:ext uri="{FF2B5EF4-FFF2-40B4-BE49-F238E27FC236}">
                <a16:creationId xmlns:a16="http://schemas.microsoft.com/office/drawing/2014/main" id="{8C181AA4-7F6C-0D73-BAF8-39BA1D4EFFBB}"/>
              </a:ext>
            </a:extLst>
          </p:cNvPr>
          <p:cNvSpPr/>
          <p:nvPr/>
        </p:nvSpPr>
        <p:spPr>
          <a:xfrm>
            <a:off x="2937739" y="3606776"/>
            <a:ext cx="231338" cy="226788"/>
          </a:xfrm>
          <a:prstGeom prst="diamond">
            <a:avLst/>
          </a:prstGeom>
          <a:solidFill>
            <a:srgbClr val="E660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 defTabSz="914355">
              <a:defRPr/>
            </a:pPr>
            <a:r>
              <a:rPr lang="it-IT" sz="700" b="1">
                <a:solidFill>
                  <a:srgbClr val="59118E"/>
                </a:solidFill>
                <a:latin typeface="Century Gothic" panose="020B0502020202020204" pitchFamily="34" charset="0"/>
                <a:cs typeface="Arial"/>
              </a:rPr>
              <a:t>3</a:t>
            </a:r>
          </a:p>
        </p:txBody>
      </p:sp>
      <p:sp>
        <p:nvSpPr>
          <p:cNvPr id="13" name="Rombo 28">
            <a:extLst>
              <a:ext uri="{FF2B5EF4-FFF2-40B4-BE49-F238E27FC236}">
                <a16:creationId xmlns:a16="http://schemas.microsoft.com/office/drawing/2014/main" id="{D4D93930-8F8C-033D-F36C-A685E574897E}"/>
              </a:ext>
            </a:extLst>
          </p:cNvPr>
          <p:cNvSpPr/>
          <p:nvPr/>
        </p:nvSpPr>
        <p:spPr>
          <a:xfrm>
            <a:off x="3298449" y="4087157"/>
            <a:ext cx="231338" cy="226788"/>
          </a:xfrm>
          <a:prstGeom prst="diamond">
            <a:avLst/>
          </a:prstGeom>
          <a:solidFill>
            <a:srgbClr val="E660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 defTabSz="914355">
              <a:defRPr/>
            </a:pPr>
            <a:r>
              <a:rPr lang="it-IT" sz="700" b="1">
                <a:solidFill>
                  <a:srgbClr val="59118E"/>
                </a:solidFill>
                <a:latin typeface="Century Gothic" panose="020B0502020202020204" pitchFamily="34" charset="0"/>
                <a:cs typeface="Arial"/>
              </a:rPr>
              <a:t>4</a:t>
            </a:r>
          </a:p>
        </p:txBody>
      </p:sp>
      <p:sp>
        <p:nvSpPr>
          <p:cNvPr id="14" name="Rombo 29">
            <a:extLst>
              <a:ext uri="{FF2B5EF4-FFF2-40B4-BE49-F238E27FC236}">
                <a16:creationId xmlns:a16="http://schemas.microsoft.com/office/drawing/2014/main" id="{3B4F8A6B-9C4D-6BFC-EA22-D52A4A62A962}"/>
              </a:ext>
            </a:extLst>
          </p:cNvPr>
          <p:cNvSpPr/>
          <p:nvPr/>
        </p:nvSpPr>
        <p:spPr>
          <a:xfrm>
            <a:off x="4617109" y="4568654"/>
            <a:ext cx="231338" cy="226788"/>
          </a:xfrm>
          <a:prstGeom prst="diamond">
            <a:avLst/>
          </a:prstGeom>
          <a:solidFill>
            <a:srgbClr val="E660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 defTabSz="914355">
              <a:defRPr/>
            </a:pPr>
            <a:r>
              <a:rPr lang="it-IT" sz="700" b="1">
                <a:solidFill>
                  <a:srgbClr val="59118E"/>
                </a:solidFill>
                <a:latin typeface="Century Gothic" panose="020B0502020202020204" pitchFamily="34" charset="0"/>
                <a:cs typeface="Arial"/>
              </a:rPr>
              <a:t>5</a:t>
            </a:r>
          </a:p>
        </p:txBody>
      </p:sp>
      <p:sp>
        <p:nvSpPr>
          <p:cNvPr id="15" name="Arrow: Pentagon 1">
            <a:extLst>
              <a:ext uri="{FF2B5EF4-FFF2-40B4-BE49-F238E27FC236}">
                <a16:creationId xmlns:a16="http://schemas.microsoft.com/office/drawing/2014/main" id="{11BACACC-9119-013E-5DD1-CAA005CE7080}"/>
              </a:ext>
            </a:extLst>
          </p:cNvPr>
          <p:cNvSpPr/>
          <p:nvPr/>
        </p:nvSpPr>
        <p:spPr>
          <a:xfrm>
            <a:off x="194405" y="2115659"/>
            <a:ext cx="728625" cy="380643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lIns="36000" tIns="68580" rIns="36000" bIns="68580" rtlCol="0" anchor="ctr"/>
          <a:lstStyle/>
          <a:p>
            <a:pPr algn="ctr" defTabSz="685766">
              <a:defRPr/>
            </a:pPr>
            <a:r>
              <a:rPr lang="it-IT" sz="675" b="1" i="1" kern="0">
                <a:solidFill>
                  <a:srgbClr val="0E2841"/>
                </a:solidFill>
                <a:latin typeface="Century Gothic" panose="020B0502020202020204" pitchFamily="34" charset="0"/>
                <a:cs typeface="Arial"/>
              </a:rPr>
              <a:t>PLAN &amp; DISCOVERY</a:t>
            </a:r>
          </a:p>
        </p:txBody>
      </p:sp>
      <p:sp>
        <p:nvSpPr>
          <p:cNvPr id="16" name="Arrow: Pentagon 1">
            <a:extLst>
              <a:ext uri="{FF2B5EF4-FFF2-40B4-BE49-F238E27FC236}">
                <a16:creationId xmlns:a16="http://schemas.microsoft.com/office/drawing/2014/main" id="{FFEA70CD-3F8D-CA85-FE03-D9FEBC2568A0}"/>
              </a:ext>
            </a:extLst>
          </p:cNvPr>
          <p:cNvSpPr/>
          <p:nvPr/>
        </p:nvSpPr>
        <p:spPr>
          <a:xfrm>
            <a:off x="395136" y="2591702"/>
            <a:ext cx="1342204" cy="380643"/>
          </a:xfrm>
          <a:prstGeom prst="homePlate">
            <a:avLst/>
          </a:prstGeom>
          <a:gradFill>
            <a:gsLst>
              <a:gs pos="0">
                <a:srgbClr val="54C8B3"/>
              </a:gs>
              <a:gs pos="100000">
                <a:srgbClr val="55A9AD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tIns="68580" bIns="68580" rtlCol="0" anchor="ctr"/>
          <a:lstStyle/>
          <a:p>
            <a:pPr algn="ctr" defTabSz="685783">
              <a:defRPr/>
            </a:pPr>
            <a:r>
              <a:rPr lang="it-IT" sz="788" b="1" kern="0">
                <a:solidFill>
                  <a:srgbClr val="FFFFFF"/>
                </a:solidFill>
                <a:latin typeface="Century Gothic" panose="020B0502020202020204" pitchFamily="34" charset="0"/>
                <a:cs typeface="Arial"/>
              </a:rPr>
              <a:t>Fase 1 - CRM</a:t>
            </a:r>
          </a:p>
        </p:txBody>
      </p:sp>
      <p:sp>
        <p:nvSpPr>
          <p:cNvPr id="17" name="Rombo 682">
            <a:extLst>
              <a:ext uri="{FF2B5EF4-FFF2-40B4-BE49-F238E27FC236}">
                <a16:creationId xmlns:a16="http://schemas.microsoft.com/office/drawing/2014/main" id="{89F4ACB3-E351-3E2F-5859-219FD71EC997}"/>
              </a:ext>
            </a:extLst>
          </p:cNvPr>
          <p:cNvSpPr/>
          <p:nvPr/>
        </p:nvSpPr>
        <p:spPr>
          <a:xfrm>
            <a:off x="1618288" y="2668631"/>
            <a:ext cx="231338" cy="226788"/>
          </a:xfrm>
          <a:prstGeom prst="diamond">
            <a:avLst/>
          </a:prstGeom>
          <a:solidFill>
            <a:srgbClr val="E660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 defTabSz="914355">
              <a:defRPr/>
            </a:pPr>
            <a:r>
              <a:rPr lang="it-IT" sz="700" b="1">
                <a:solidFill>
                  <a:srgbClr val="59118E"/>
                </a:solidFill>
                <a:latin typeface="Century Gothic" panose="020B0502020202020204" pitchFamily="34" charset="0"/>
                <a:cs typeface="Arial"/>
              </a:rPr>
              <a:t>1</a:t>
            </a:r>
          </a:p>
        </p:txBody>
      </p:sp>
      <p:sp>
        <p:nvSpPr>
          <p:cNvPr id="75" name="CasellaDiTesto 1">
            <a:extLst>
              <a:ext uri="{FF2B5EF4-FFF2-40B4-BE49-F238E27FC236}">
                <a16:creationId xmlns:a16="http://schemas.microsoft.com/office/drawing/2014/main" id="{CA43203E-0C83-7D84-8EA5-DAC09F696E92}"/>
              </a:ext>
            </a:extLst>
          </p:cNvPr>
          <p:cNvSpPr txBox="1"/>
          <p:nvPr/>
        </p:nvSpPr>
        <p:spPr>
          <a:xfrm>
            <a:off x="5709968" y="265152"/>
            <a:ext cx="3513419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783">
              <a:defRPr/>
            </a:pPr>
            <a:r>
              <a:rPr lang="it-IT" sz="2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no previste </a:t>
            </a:r>
            <a:r>
              <a:rPr lang="it-IT" sz="20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fasi di progetto </a:t>
            </a:r>
            <a:r>
              <a:rPr lang="it-IT" sz="2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l corso delle quali saranno rilasciate le seguenti </a:t>
            </a:r>
            <a:r>
              <a:rPr lang="it-IT" sz="2000" b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zionalità</a:t>
            </a:r>
            <a:r>
              <a:rPr lang="it-IT" sz="2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2FD7E91A-7911-CD77-07FB-01E2887FD478}"/>
              </a:ext>
            </a:extLst>
          </p:cNvPr>
          <p:cNvGrpSpPr/>
          <p:nvPr/>
        </p:nvGrpSpPr>
        <p:grpSpPr>
          <a:xfrm>
            <a:off x="5279996" y="2296179"/>
            <a:ext cx="294462" cy="2520000"/>
            <a:chOff x="5279996" y="1356840"/>
            <a:chExt cx="294462" cy="2520000"/>
          </a:xfrm>
        </p:grpSpPr>
        <p:sp>
          <p:nvSpPr>
            <p:cNvPr id="81" name="Rectangle 27">
              <a:extLst>
                <a:ext uri="{FF2B5EF4-FFF2-40B4-BE49-F238E27FC236}">
                  <a16:creationId xmlns:a16="http://schemas.microsoft.com/office/drawing/2014/main" id="{152B130A-7649-17FA-1F4B-8E3D80075BC9}"/>
                </a:ext>
              </a:extLst>
            </p:cNvPr>
            <p:cNvSpPr/>
            <p:nvPr/>
          </p:nvSpPr>
          <p:spPr>
            <a:xfrm rot="16200000">
              <a:off x="4167228" y="2608141"/>
              <a:ext cx="2520000" cy="17397"/>
            </a:xfrm>
            <a:prstGeom prst="rect">
              <a:avLst/>
            </a:prstGeom>
            <a:gradFill>
              <a:gsLst>
                <a:gs pos="50000">
                  <a:schemeClr val="bg1">
                    <a:lumMod val="75000"/>
                  </a:schemeClr>
                </a:gs>
                <a:gs pos="99000">
                  <a:schemeClr val="bg1">
                    <a:alpha val="0"/>
                  </a:schemeClr>
                </a:gs>
                <a:gs pos="0">
                  <a:schemeClr val="bg1">
                    <a:alpha val="0"/>
                  </a:schemeClr>
                </a:gs>
                <a:gs pos="25000">
                  <a:schemeClr val="bg1">
                    <a:lumMod val="95000"/>
                  </a:schemeClr>
                </a:gs>
                <a:gs pos="75000">
                  <a:schemeClr val="bg1">
                    <a:lumMod val="95000"/>
                  </a:schemeClr>
                </a:gs>
              </a:gsLst>
              <a:lin ang="0" scaled="0"/>
            </a:gra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091">
                <a:defRPr/>
              </a:pPr>
              <a:endParaRPr lang="en-GB">
                <a:solidFill>
                  <a:srgbClr val="FFFFFF"/>
                </a:solidFill>
                <a:latin typeface="Sky Text Medium"/>
              </a:endParaRPr>
            </a:p>
          </p:txBody>
        </p:sp>
        <p:grpSp>
          <p:nvGrpSpPr>
            <p:cNvPr id="82" name="Gruppo 35">
              <a:extLst>
                <a:ext uri="{FF2B5EF4-FFF2-40B4-BE49-F238E27FC236}">
                  <a16:creationId xmlns:a16="http://schemas.microsoft.com/office/drawing/2014/main" id="{56BCDE02-D7F1-E701-BE2B-A6A484CF9CEF}"/>
                </a:ext>
              </a:extLst>
            </p:cNvPr>
            <p:cNvGrpSpPr/>
            <p:nvPr/>
          </p:nvGrpSpPr>
          <p:grpSpPr>
            <a:xfrm rot="16200000">
              <a:off x="5019763" y="2469609"/>
              <a:ext cx="814928" cy="294462"/>
              <a:chOff x="1163323" y="5610689"/>
              <a:chExt cx="612216" cy="294462"/>
            </a:xfrm>
          </p:grpSpPr>
          <p:sp>
            <p:nvSpPr>
              <p:cNvPr id="83" name="Ovale 36">
                <a:extLst>
                  <a:ext uri="{FF2B5EF4-FFF2-40B4-BE49-F238E27FC236}">
                    <a16:creationId xmlns:a16="http://schemas.microsoft.com/office/drawing/2014/main" id="{D9CAFD12-069C-8B84-77EB-FCB610C1801F}"/>
                  </a:ext>
                </a:extLst>
              </p:cNvPr>
              <p:cNvSpPr/>
              <p:nvPr/>
            </p:nvSpPr>
            <p:spPr>
              <a:xfrm>
                <a:off x="1163323" y="5610689"/>
                <a:ext cx="612216" cy="294462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78">
                  <a:defRPr/>
                </a:pPr>
                <a:endParaRPr lang="en-GB">
                  <a:solidFill>
                    <a:prstClr val="white"/>
                  </a:solidFill>
                  <a:latin typeface="Calibri"/>
                </a:endParaRPr>
              </a:p>
            </p:txBody>
          </p:sp>
          <p:cxnSp>
            <p:nvCxnSpPr>
              <p:cNvPr id="84" name="Straight Connector 15">
                <a:extLst>
                  <a:ext uri="{FF2B5EF4-FFF2-40B4-BE49-F238E27FC236}">
                    <a16:creationId xmlns:a16="http://schemas.microsoft.com/office/drawing/2014/main" id="{7D0D8027-D48D-EDFF-8784-5AF9887D659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264565" y="5726577"/>
                <a:ext cx="202420" cy="95374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18">
                <a:extLst>
                  <a:ext uri="{FF2B5EF4-FFF2-40B4-BE49-F238E27FC236}">
                    <a16:creationId xmlns:a16="http://schemas.microsoft.com/office/drawing/2014/main" id="{C1319380-E86C-46EC-CEA3-7A1AF227E17F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470135" y="5726577"/>
                <a:ext cx="185592" cy="95374"/>
              </a:xfrm>
              <a:prstGeom prst="line">
                <a:avLst/>
              </a:prstGeom>
              <a:ln w="41275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0" name="CasellaDiTesto 803">
            <a:extLst>
              <a:ext uri="{FF2B5EF4-FFF2-40B4-BE49-F238E27FC236}">
                <a16:creationId xmlns:a16="http://schemas.microsoft.com/office/drawing/2014/main" id="{2EDAF875-C20B-8400-A76C-C9E79760C39F}"/>
              </a:ext>
            </a:extLst>
          </p:cNvPr>
          <p:cNvSpPr txBox="1"/>
          <p:nvPr/>
        </p:nvSpPr>
        <p:spPr>
          <a:xfrm>
            <a:off x="6056395" y="2684036"/>
            <a:ext cx="307769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 marL="228600" marR="0" lvl="0" indent="-228600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C8B3"/>
              </a:buClr>
              <a:buSzPct val="200000"/>
              <a:buFont typeface="Arial" panose="020B0604020202020204" pitchFamily="34" charset="0"/>
              <a:buChar char="0"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defTabSz="685783">
              <a:buNone/>
              <a:defRPr/>
            </a:pPr>
            <a:r>
              <a:rPr lang="it-IT" b="1"/>
              <a:t>CRM</a:t>
            </a:r>
            <a:r>
              <a:rPr lang="it-IT"/>
              <a:t>: </a:t>
            </a:r>
            <a:r>
              <a:rPr lang="it-IT" err="1"/>
              <a:t>Clusterizzazione</a:t>
            </a:r>
            <a:r>
              <a:rPr lang="it-IT"/>
              <a:t> Clienti, Obiettivi, Previsioni di Vendita e Gestione delle Visite</a:t>
            </a:r>
          </a:p>
        </p:txBody>
      </p:sp>
      <p:sp>
        <p:nvSpPr>
          <p:cNvPr id="89" name="CasellaDiTesto 803">
            <a:extLst>
              <a:ext uri="{FF2B5EF4-FFF2-40B4-BE49-F238E27FC236}">
                <a16:creationId xmlns:a16="http://schemas.microsoft.com/office/drawing/2014/main" id="{FFFBCAEC-F53A-6993-61DE-3983FA7BAA74}"/>
              </a:ext>
            </a:extLst>
          </p:cNvPr>
          <p:cNvSpPr txBox="1"/>
          <p:nvPr/>
        </p:nvSpPr>
        <p:spPr>
          <a:xfrm>
            <a:off x="5555354" y="2683130"/>
            <a:ext cx="468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 marL="228600" marR="0" lvl="0" indent="-228600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C8B3"/>
              </a:buClr>
              <a:buSzPct val="200000"/>
              <a:buFont typeface="Arial" panose="020B0604020202020204" pitchFamily="34" charset="0"/>
              <a:buChar char="0"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r" defTabSz="685783">
              <a:buNone/>
              <a:defRPr/>
            </a:pPr>
            <a:r>
              <a:rPr lang="it-IT" sz="1800" b="1">
                <a:solidFill>
                  <a:srgbClr val="E660C3"/>
                </a:solidFill>
              </a:rPr>
              <a:t>2</a:t>
            </a:r>
          </a:p>
        </p:txBody>
      </p:sp>
      <p:sp>
        <p:nvSpPr>
          <p:cNvPr id="71" name="CasellaDiTesto 804">
            <a:extLst>
              <a:ext uri="{FF2B5EF4-FFF2-40B4-BE49-F238E27FC236}">
                <a16:creationId xmlns:a16="http://schemas.microsoft.com/office/drawing/2014/main" id="{F4CA1BF1-F19C-D00D-C60A-102ABBB9B3C8}"/>
              </a:ext>
            </a:extLst>
          </p:cNvPr>
          <p:cNvSpPr txBox="1"/>
          <p:nvPr/>
        </p:nvSpPr>
        <p:spPr>
          <a:xfrm>
            <a:off x="6056395" y="3337074"/>
            <a:ext cx="307769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 marL="228600" marR="0" lvl="0" indent="-228600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C8B3"/>
              </a:buClr>
              <a:buSzPct val="200000"/>
              <a:buFont typeface="Arial" panose="020B0604020202020204" pitchFamily="34" charset="0"/>
              <a:buChar char="0"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defTabSz="685783">
              <a:buNone/>
              <a:defRPr/>
            </a:pPr>
            <a:r>
              <a:rPr lang="it-IT" b="1"/>
              <a:t>Digital</a:t>
            </a:r>
            <a:r>
              <a:rPr lang="it-IT"/>
              <a:t>: Catalogo, Ordine e Operations</a:t>
            </a:r>
          </a:p>
        </p:txBody>
      </p:sp>
      <p:sp>
        <p:nvSpPr>
          <p:cNvPr id="90" name="CasellaDiTesto 804">
            <a:extLst>
              <a:ext uri="{FF2B5EF4-FFF2-40B4-BE49-F238E27FC236}">
                <a16:creationId xmlns:a16="http://schemas.microsoft.com/office/drawing/2014/main" id="{CEB6CED0-4B2F-6944-DF88-ED453F61E64A}"/>
              </a:ext>
            </a:extLst>
          </p:cNvPr>
          <p:cNvSpPr txBox="1"/>
          <p:nvPr/>
        </p:nvSpPr>
        <p:spPr>
          <a:xfrm>
            <a:off x="5555354" y="3271580"/>
            <a:ext cx="468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 marL="228600" marR="0" lvl="0" indent="-228600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C8B3"/>
              </a:buClr>
              <a:buSzPct val="200000"/>
              <a:buFont typeface="Arial" panose="020B0604020202020204" pitchFamily="34" charset="0"/>
              <a:buChar char="0"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r" defTabSz="685783">
              <a:buNone/>
              <a:defRPr/>
            </a:pPr>
            <a:r>
              <a:rPr lang="it-IT" sz="1800" b="1">
                <a:solidFill>
                  <a:srgbClr val="E660C3"/>
                </a:solidFill>
              </a:rPr>
              <a:t>3</a:t>
            </a:r>
          </a:p>
        </p:txBody>
      </p:sp>
      <p:sp>
        <p:nvSpPr>
          <p:cNvPr id="72" name="CasellaDiTesto 805">
            <a:extLst>
              <a:ext uri="{FF2B5EF4-FFF2-40B4-BE49-F238E27FC236}">
                <a16:creationId xmlns:a16="http://schemas.microsoft.com/office/drawing/2014/main" id="{14C5B0A6-2393-6C48-67B2-1FA7FD66C38B}"/>
              </a:ext>
            </a:extLst>
          </p:cNvPr>
          <p:cNvSpPr txBox="1"/>
          <p:nvPr/>
        </p:nvSpPr>
        <p:spPr>
          <a:xfrm>
            <a:off x="6056395" y="3946215"/>
            <a:ext cx="307769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 marL="228600" marR="0" lvl="0" indent="-228600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C8B3"/>
              </a:buClr>
              <a:buSzPct val="200000"/>
              <a:buFont typeface="Arial" panose="020B0604020202020204" pitchFamily="34" charset="0"/>
              <a:buChar char="0"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defTabSz="685783">
              <a:buNone/>
              <a:defRPr/>
            </a:pPr>
            <a:r>
              <a:rPr lang="it-IT" b="1"/>
              <a:t>Digital Inventory</a:t>
            </a:r>
          </a:p>
        </p:txBody>
      </p:sp>
      <p:sp>
        <p:nvSpPr>
          <p:cNvPr id="91" name="CasellaDiTesto 805">
            <a:extLst>
              <a:ext uri="{FF2B5EF4-FFF2-40B4-BE49-F238E27FC236}">
                <a16:creationId xmlns:a16="http://schemas.microsoft.com/office/drawing/2014/main" id="{481778FC-E702-508A-4225-EA265FA72B51}"/>
              </a:ext>
            </a:extLst>
          </p:cNvPr>
          <p:cNvSpPr txBox="1"/>
          <p:nvPr/>
        </p:nvSpPr>
        <p:spPr>
          <a:xfrm>
            <a:off x="5555354" y="3889469"/>
            <a:ext cx="468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 marL="228600" marR="0" lvl="0" indent="-228600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C8B3"/>
              </a:buClr>
              <a:buSzPct val="200000"/>
              <a:buFont typeface="Arial" panose="020B0604020202020204" pitchFamily="34" charset="0"/>
              <a:buChar char="0"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r" defTabSz="685783">
              <a:buNone/>
              <a:defRPr/>
            </a:pPr>
            <a:r>
              <a:rPr lang="it-IT" sz="1800" b="1">
                <a:solidFill>
                  <a:srgbClr val="E660C3"/>
                </a:solidFill>
              </a:rPr>
              <a:t>4</a:t>
            </a:r>
          </a:p>
        </p:txBody>
      </p:sp>
      <p:sp>
        <p:nvSpPr>
          <p:cNvPr id="73" name="CasellaDiTesto 806">
            <a:extLst>
              <a:ext uri="{FF2B5EF4-FFF2-40B4-BE49-F238E27FC236}">
                <a16:creationId xmlns:a16="http://schemas.microsoft.com/office/drawing/2014/main" id="{BB3D1379-9515-C519-1B21-98BE9899FA95}"/>
              </a:ext>
            </a:extLst>
          </p:cNvPr>
          <p:cNvSpPr txBox="1"/>
          <p:nvPr/>
        </p:nvSpPr>
        <p:spPr>
          <a:xfrm>
            <a:off x="6056395" y="4460174"/>
            <a:ext cx="307769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 marL="228600" marR="0" lvl="0" indent="-228600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C8B3"/>
              </a:buClr>
              <a:buSzPct val="200000"/>
              <a:buFont typeface="Arial" panose="020B0604020202020204" pitchFamily="34" charset="0"/>
              <a:buChar char="0"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defTabSz="685783">
              <a:buNone/>
              <a:defRPr/>
            </a:pPr>
            <a:r>
              <a:rPr lang="it-IT" b="1"/>
              <a:t>Cross-Media: </a:t>
            </a:r>
            <a:r>
              <a:rPr lang="it-IT"/>
              <a:t>Catalogo e KPI/ </a:t>
            </a:r>
            <a:r>
              <a:rPr lang="it-IT" err="1"/>
              <a:t>Currency</a:t>
            </a:r>
            <a:r>
              <a:rPr lang="it-IT"/>
              <a:t>, Ordine, AI/ ML (Planner intelligente)</a:t>
            </a:r>
          </a:p>
        </p:txBody>
      </p:sp>
      <p:sp>
        <p:nvSpPr>
          <p:cNvPr id="92" name="CasellaDiTesto 806">
            <a:extLst>
              <a:ext uri="{FF2B5EF4-FFF2-40B4-BE49-F238E27FC236}">
                <a16:creationId xmlns:a16="http://schemas.microsoft.com/office/drawing/2014/main" id="{2C3EE04E-5248-173E-7B81-E0AC44AC1FB8}"/>
              </a:ext>
            </a:extLst>
          </p:cNvPr>
          <p:cNvSpPr txBox="1"/>
          <p:nvPr/>
        </p:nvSpPr>
        <p:spPr>
          <a:xfrm>
            <a:off x="5555354" y="4503039"/>
            <a:ext cx="468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 marL="228600" marR="0" lvl="0" indent="-228600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C8B3"/>
              </a:buClr>
              <a:buSzPct val="200000"/>
              <a:buFont typeface="Arial" panose="020B0604020202020204" pitchFamily="34" charset="0"/>
              <a:buChar char="0"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r" defTabSz="685783">
              <a:buNone/>
              <a:defRPr/>
            </a:pPr>
            <a:r>
              <a:rPr lang="it-IT" sz="1800" b="1">
                <a:solidFill>
                  <a:srgbClr val="E660C3"/>
                </a:solidFill>
              </a:rPr>
              <a:t>5</a:t>
            </a:r>
          </a:p>
        </p:txBody>
      </p:sp>
      <p:sp>
        <p:nvSpPr>
          <p:cNvPr id="74" name="CasellaDiTesto 807">
            <a:extLst>
              <a:ext uri="{FF2B5EF4-FFF2-40B4-BE49-F238E27FC236}">
                <a16:creationId xmlns:a16="http://schemas.microsoft.com/office/drawing/2014/main" id="{E9DD8824-0295-8F76-7F8D-8AFBCD45246E}"/>
              </a:ext>
            </a:extLst>
          </p:cNvPr>
          <p:cNvSpPr txBox="1"/>
          <p:nvPr/>
        </p:nvSpPr>
        <p:spPr>
          <a:xfrm>
            <a:off x="6056395" y="2115376"/>
            <a:ext cx="307769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 marL="228600" marR="0" lvl="0" indent="-228600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C8B3"/>
              </a:buClr>
              <a:buSzPct val="200000"/>
              <a:buFont typeface="Arial" panose="020B0604020202020204" pitchFamily="34" charset="0"/>
              <a:buChar char="0"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defTabSz="685783">
              <a:buNone/>
              <a:defRPr/>
            </a:pPr>
            <a:r>
              <a:rPr lang="it-IT" b="1"/>
              <a:t>CRM</a:t>
            </a:r>
            <a:r>
              <a:rPr lang="it-IT"/>
              <a:t>: Scheda Cliente/ Agenzia, Accordi commerciali, Gestione Contatti</a:t>
            </a:r>
          </a:p>
        </p:txBody>
      </p:sp>
      <p:sp>
        <p:nvSpPr>
          <p:cNvPr id="93" name="CasellaDiTesto 807">
            <a:extLst>
              <a:ext uri="{FF2B5EF4-FFF2-40B4-BE49-F238E27FC236}">
                <a16:creationId xmlns:a16="http://schemas.microsoft.com/office/drawing/2014/main" id="{D44EF1E5-4A31-013B-4FA9-6A7467070A57}"/>
              </a:ext>
            </a:extLst>
          </p:cNvPr>
          <p:cNvSpPr txBox="1"/>
          <p:nvPr/>
        </p:nvSpPr>
        <p:spPr>
          <a:xfrm>
            <a:off x="5555354" y="2149564"/>
            <a:ext cx="468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t-IT"/>
            </a:defPPr>
            <a:lvl1pPr marL="228600" marR="0" lvl="0" indent="-228600" defTabSz="6858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4C8B3"/>
              </a:buClr>
              <a:buSzPct val="200000"/>
              <a:buFont typeface="Arial" panose="020B0604020202020204" pitchFamily="34" charset="0"/>
              <a:buChar char="0"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indent="0" algn="r" defTabSz="685783">
              <a:buNone/>
              <a:defRPr/>
            </a:pPr>
            <a:r>
              <a:rPr lang="it-IT" sz="1800" b="1">
                <a:solidFill>
                  <a:srgbClr val="E660C3"/>
                </a:solidFill>
              </a:rPr>
              <a:t>1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6DC88550-73B4-10D1-24CF-EA65D81FC1B0}"/>
              </a:ext>
            </a:extLst>
          </p:cNvPr>
          <p:cNvCxnSpPr>
            <a:cxnSpLocks/>
          </p:cNvCxnSpPr>
          <p:nvPr/>
        </p:nvCxnSpPr>
        <p:spPr>
          <a:xfrm>
            <a:off x="5779445" y="2566029"/>
            <a:ext cx="3354646" cy="0"/>
          </a:xfrm>
          <a:prstGeom prst="line">
            <a:avLst/>
          </a:prstGeom>
          <a:ln>
            <a:solidFill>
              <a:srgbClr val="54C8B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FAD341F9-4314-F2DC-03B6-B451F0A23EFB}"/>
              </a:ext>
            </a:extLst>
          </p:cNvPr>
          <p:cNvCxnSpPr>
            <a:cxnSpLocks/>
          </p:cNvCxnSpPr>
          <p:nvPr/>
        </p:nvCxnSpPr>
        <p:spPr>
          <a:xfrm>
            <a:off x="5779445" y="3163848"/>
            <a:ext cx="3354646" cy="0"/>
          </a:xfrm>
          <a:prstGeom prst="line">
            <a:avLst/>
          </a:prstGeom>
          <a:ln>
            <a:solidFill>
              <a:srgbClr val="54C8B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7934C10-48E6-7E35-90A3-D65DB90AFF3B}"/>
              </a:ext>
            </a:extLst>
          </p:cNvPr>
          <p:cNvCxnSpPr>
            <a:cxnSpLocks/>
          </p:cNvCxnSpPr>
          <p:nvPr/>
        </p:nvCxnSpPr>
        <p:spPr>
          <a:xfrm>
            <a:off x="5779445" y="3761667"/>
            <a:ext cx="3354646" cy="0"/>
          </a:xfrm>
          <a:prstGeom prst="line">
            <a:avLst/>
          </a:prstGeom>
          <a:ln>
            <a:solidFill>
              <a:srgbClr val="54C8B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9F8E7D0B-DF4A-AEBF-E3C3-31284F8C1742}"/>
              </a:ext>
            </a:extLst>
          </p:cNvPr>
          <p:cNvCxnSpPr>
            <a:cxnSpLocks/>
          </p:cNvCxnSpPr>
          <p:nvPr/>
        </p:nvCxnSpPr>
        <p:spPr>
          <a:xfrm>
            <a:off x="5779445" y="4359487"/>
            <a:ext cx="3354646" cy="0"/>
          </a:xfrm>
          <a:prstGeom prst="line">
            <a:avLst/>
          </a:prstGeom>
          <a:ln>
            <a:solidFill>
              <a:srgbClr val="54C8B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9659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6">
            <a:extLst>
              <a:ext uri="{FF2B5EF4-FFF2-40B4-BE49-F238E27FC236}">
                <a16:creationId xmlns:a16="http://schemas.microsoft.com/office/drawing/2014/main" id="{9FB7B26B-A603-28CB-C7B8-28A590C5DF6C}"/>
              </a:ext>
            </a:extLst>
          </p:cNvPr>
          <p:cNvSpPr txBox="1"/>
          <p:nvPr/>
        </p:nvSpPr>
        <p:spPr>
          <a:xfrm>
            <a:off x="527605" y="663538"/>
            <a:ext cx="55861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l CRM e le sue funzionalità</a:t>
            </a:r>
          </a:p>
        </p:txBody>
      </p:sp>
      <p:sp>
        <p:nvSpPr>
          <p:cNvPr id="34" name="Freeform: Shape 48">
            <a:extLst>
              <a:ext uri="{FF2B5EF4-FFF2-40B4-BE49-F238E27FC236}">
                <a16:creationId xmlns:a16="http://schemas.microsoft.com/office/drawing/2014/main" id="{C064EB98-DBE4-72AB-9637-F15865CB78D4}"/>
              </a:ext>
            </a:extLst>
          </p:cNvPr>
          <p:cNvSpPr/>
          <p:nvPr/>
        </p:nvSpPr>
        <p:spPr>
          <a:xfrm>
            <a:off x="3280454" y="1746284"/>
            <a:ext cx="2604569" cy="2604569"/>
          </a:xfrm>
          <a:custGeom>
            <a:avLst/>
            <a:gdLst>
              <a:gd name="connsiteX0" fmla="*/ 1736379 w 3472758"/>
              <a:gd name="connsiteY0" fmla="*/ 0 h 3472758"/>
              <a:gd name="connsiteX1" fmla="*/ 1780182 w 3472758"/>
              <a:gd name="connsiteY1" fmla="*/ 2212 h 3472758"/>
              <a:gd name="connsiteX2" fmla="*/ 1773419 w 3472758"/>
              <a:gd name="connsiteY2" fmla="*/ 69295 h 3472758"/>
              <a:gd name="connsiteX3" fmla="*/ 2431395 w 3472758"/>
              <a:gd name="connsiteY3" fmla="*/ 727271 h 3472758"/>
              <a:gd name="connsiteX4" fmla="*/ 2896655 w 3472758"/>
              <a:gd name="connsiteY4" fmla="*/ 534554 h 3472758"/>
              <a:gd name="connsiteX5" fmla="*/ 2937843 w 3472758"/>
              <a:gd name="connsiteY5" fmla="*/ 484633 h 3472758"/>
              <a:gd name="connsiteX6" fmla="*/ 2964185 w 3472758"/>
              <a:gd name="connsiteY6" fmla="*/ 508574 h 3472758"/>
              <a:gd name="connsiteX7" fmla="*/ 2985835 w 3472758"/>
              <a:gd name="connsiteY7" fmla="*/ 532395 h 3472758"/>
              <a:gd name="connsiteX8" fmla="*/ 2919096 w 3472758"/>
              <a:gd name="connsiteY8" fmla="*/ 587460 h 3472758"/>
              <a:gd name="connsiteX9" fmla="*/ 2726379 w 3472758"/>
              <a:gd name="connsiteY9" fmla="*/ 1052719 h 3472758"/>
              <a:gd name="connsiteX10" fmla="*/ 3384355 w 3472758"/>
              <a:gd name="connsiteY10" fmla="*/ 1710695 h 3472758"/>
              <a:gd name="connsiteX11" fmla="*/ 3471020 w 3472758"/>
              <a:gd name="connsiteY11" fmla="*/ 1701959 h 3472758"/>
              <a:gd name="connsiteX12" fmla="*/ 3472758 w 3472758"/>
              <a:gd name="connsiteY12" fmla="*/ 1736379 h 3472758"/>
              <a:gd name="connsiteX13" fmla="*/ 3471020 w 3472758"/>
              <a:gd name="connsiteY13" fmla="*/ 1770801 h 3472758"/>
              <a:gd name="connsiteX14" fmla="*/ 3384355 w 3472758"/>
              <a:gd name="connsiteY14" fmla="*/ 1762064 h 3472758"/>
              <a:gd name="connsiteX15" fmla="*/ 2726379 w 3472758"/>
              <a:gd name="connsiteY15" fmla="*/ 2420040 h 3472758"/>
              <a:gd name="connsiteX16" fmla="*/ 2919096 w 3472758"/>
              <a:gd name="connsiteY16" fmla="*/ 2885299 h 3472758"/>
              <a:gd name="connsiteX17" fmla="*/ 2985835 w 3472758"/>
              <a:gd name="connsiteY17" fmla="*/ 2940364 h 3472758"/>
              <a:gd name="connsiteX18" fmla="*/ 2964185 w 3472758"/>
              <a:gd name="connsiteY18" fmla="*/ 2964185 h 3472758"/>
              <a:gd name="connsiteX19" fmla="*/ 2940705 w 3472758"/>
              <a:gd name="connsiteY19" fmla="*/ 2985526 h 3472758"/>
              <a:gd name="connsiteX20" fmla="*/ 2896655 w 3472758"/>
              <a:gd name="connsiteY20" fmla="*/ 2932136 h 3472758"/>
              <a:gd name="connsiteX21" fmla="*/ 2431395 w 3472758"/>
              <a:gd name="connsiteY21" fmla="*/ 2739419 h 3472758"/>
              <a:gd name="connsiteX22" fmla="*/ 1773419 w 3472758"/>
              <a:gd name="connsiteY22" fmla="*/ 3397395 h 3472758"/>
              <a:gd name="connsiteX23" fmla="*/ 1780790 w 3472758"/>
              <a:gd name="connsiteY23" fmla="*/ 3470516 h 3472758"/>
              <a:gd name="connsiteX24" fmla="*/ 1736379 w 3472758"/>
              <a:gd name="connsiteY24" fmla="*/ 3472758 h 3472758"/>
              <a:gd name="connsiteX25" fmla="*/ 1683694 w 3472758"/>
              <a:gd name="connsiteY25" fmla="*/ 3470098 h 3472758"/>
              <a:gd name="connsiteX26" fmla="*/ 1691023 w 3472758"/>
              <a:gd name="connsiteY26" fmla="*/ 3397395 h 3472758"/>
              <a:gd name="connsiteX27" fmla="*/ 1033047 w 3472758"/>
              <a:gd name="connsiteY27" fmla="*/ 2739419 h 3472758"/>
              <a:gd name="connsiteX28" fmla="*/ 567788 w 3472758"/>
              <a:gd name="connsiteY28" fmla="*/ 2932136 h 3472758"/>
              <a:gd name="connsiteX29" fmla="*/ 527302 w 3472758"/>
              <a:gd name="connsiteY29" fmla="*/ 2981206 h 3472758"/>
              <a:gd name="connsiteX30" fmla="*/ 508574 w 3472758"/>
              <a:gd name="connsiteY30" fmla="*/ 2964185 h 3472758"/>
              <a:gd name="connsiteX31" fmla="*/ 476030 w 3472758"/>
              <a:gd name="connsiteY31" fmla="*/ 2928377 h 3472758"/>
              <a:gd name="connsiteX32" fmla="*/ 528241 w 3472758"/>
              <a:gd name="connsiteY32" fmla="*/ 2885299 h 3472758"/>
              <a:gd name="connsiteX33" fmla="*/ 720957 w 3472758"/>
              <a:gd name="connsiteY33" fmla="*/ 2420040 h 3472758"/>
              <a:gd name="connsiteX34" fmla="*/ 62981 w 3472758"/>
              <a:gd name="connsiteY34" fmla="*/ 1762064 h 3472758"/>
              <a:gd name="connsiteX35" fmla="*/ 1610 w 3472758"/>
              <a:gd name="connsiteY35" fmla="*/ 1768251 h 3472758"/>
              <a:gd name="connsiteX36" fmla="*/ 0 w 3472758"/>
              <a:gd name="connsiteY36" fmla="*/ 1736379 h 3472758"/>
              <a:gd name="connsiteX37" fmla="*/ 1610 w 3472758"/>
              <a:gd name="connsiteY37" fmla="*/ 1704508 h 3472758"/>
              <a:gd name="connsiteX38" fmla="*/ 62981 w 3472758"/>
              <a:gd name="connsiteY38" fmla="*/ 1710695 h 3472758"/>
              <a:gd name="connsiteX39" fmla="*/ 720957 w 3472758"/>
              <a:gd name="connsiteY39" fmla="*/ 1052719 h 3472758"/>
              <a:gd name="connsiteX40" fmla="*/ 528241 w 3472758"/>
              <a:gd name="connsiteY40" fmla="*/ 587460 h 3472758"/>
              <a:gd name="connsiteX41" fmla="*/ 476029 w 3472758"/>
              <a:gd name="connsiteY41" fmla="*/ 544382 h 3472758"/>
              <a:gd name="connsiteX42" fmla="*/ 508574 w 3472758"/>
              <a:gd name="connsiteY42" fmla="*/ 508574 h 3472758"/>
              <a:gd name="connsiteX43" fmla="*/ 530163 w 3472758"/>
              <a:gd name="connsiteY43" fmla="*/ 488953 h 3472758"/>
              <a:gd name="connsiteX44" fmla="*/ 567788 w 3472758"/>
              <a:gd name="connsiteY44" fmla="*/ 534554 h 3472758"/>
              <a:gd name="connsiteX45" fmla="*/ 1033047 w 3472758"/>
              <a:gd name="connsiteY45" fmla="*/ 727271 h 3472758"/>
              <a:gd name="connsiteX46" fmla="*/ 1691023 w 3472758"/>
              <a:gd name="connsiteY46" fmla="*/ 69295 h 3472758"/>
              <a:gd name="connsiteX47" fmla="*/ 1684303 w 3472758"/>
              <a:gd name="connsiteY47" fmla="*/ 2630 h 3472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3472758" h="3472758">
                <a:moveTo>
                  <a:pt x="1736379" y="0"/>
                </a:moveTo>
                <a:lnTo>
                  <a:pt x="1780182" y="2212"/>
                </a:lnTo>
                <a:lnTo>
                  <a:pt x="1773419" y="69295"/>
                </a:lnTo>
                <a:cubicBezTo>
                  <a:pt x="1773419" y="432685"/>
                  <a:pt x="2068005" y="727271"/>
                  <a:pt x="2431395" y="727271"/>
                </a:cubicBezTo>
                <a:cubicBezTo>
                  <a:pt x="2613090" y="727271"/>
                  <a:pt x="2777584" y="653625"/>
                  <a:pt x="2896655" y="534554"/>
                </a:cubicBezTo>
                <a:lnTo>
                  <a:pt x="2937843" y="484633"/>
                </a:lnTo>
                <a:lnTo>
                  <a:pt x="2964185" y="508574"/>
                </a:lnTo>
                <a:lnTo>
                  <a:pt x="2985835" y="532395"/>
                </a:lnTo>
                <a:lnTo>
                  <a:pt x="2919096" y="587460"/>
                </a:lnTo>
                <a:cubicBezTo>
                  <a:pt x="2800026" y="706530"/>
                  <a:pt x="2726379" y="871024"/>
                  <a:pt x="2726379" y="1052719"/>
                </a:cubicBezTo>
                <a:cubicBezTo>
                  <a:pt x="2726379" y="1416109"/>
                  <a:pt x="3020965" y="1710695"/>
                  <a:pt x="3384355" y="1710695"/>
                </a:cubicBezTo>
                <a:lnTo>
                  <a:pt x="3471020" y="1701959"/>
                </a:lnTo>
                <a:lnTo>
                  <a:pt x="3472758" y="1736379"/>
                </a:lnTo>
                <a:lnTo>
                  <a:pt x="3471020" y="1770801"/>
                </a:lnTo>
                <a:lnTo>
                  <a:pt x="3384355" y="1762064"/>
                </a:lnTo>
                <a:cubicBezTo>
                  <a:pt x="3020965" y="1762064"/>
                  <a:pt x="2726379" y="2056650"/>
                  <a:pt x="2726379" y="2420040"/>
                </a:cubicBezTo>
                <a:cubicBezTo>
                  <a:pt x="2726379" y="2601735"/>
                  <a:pt x="2800026" y="2766229"/>
                  <a:pt x="2919096" y="2885299"/>
                </a:cubicBezTo>
                <a:lnTo>
                  <a:pt x="2985835" y="2940364"/>
                </a:lnTo>
                <a:lnTo>
                  <a:pt x="2964185" y="2964185"/>
                </a:lnTo>
                <a:lnTo>
                  <a:pt x="2940705" y="2985526"/>
                </a:lnTo>
                <a:lnTo>
                  <a:pt x="2896655" y="2932136"/>
                </a:lnTo>
                <a:cubicBezTo>
                  <a:pt x="2777584" y="2813066"/>
                  <a:pt x="2613090" y="2739419"/>
                  <a:pt x="2431395" y="2739419"/>
                </a:cubicBezTo>
                <a:cubicBezTo>
                  <a:pt x="2068005" y="2739419"/>
                  <a:pt x="1773419" y="3034005"/>
                  <a:pt x="1773419" y="3397395"/>
                </a:cubicBezTo>
                <a:lnTo>
                  <a:pt x="1780790" y="3470516"/>
                </a:lnTo>
                <a:lnTo>
                  <a:pt x="1736379" y="3472758"/>
                </a:lnTo>
                <a:lnTo>
                  <a:pt x="1683694" y="3470098"/>
                </a:lnTo>
                <a:lnTo>
                  <a:pt x="1691023" y="3397395"/>
                </a:lnTo>
                <a:cubicBezTo>
                  <a:pt x="1691023" y="3034005"/>
                  <a:pt x="1396437" y="2739419"/>
                  <a:pt x="1033047" y="2739419"/>
                </a:cubicBezTo>
                <a:cubicBezTo>
                  <a:pt x="851352" y="2739419"/>
                  <a:pt x="686858" y="2813066"/>
                  <a:pt x="567788" y="2932136"/>
                </a:cubicBezTo>
                <a:lnTo>
                  <a:pt x="527302" y="2981206"/>
                </a:lnTo>
                <a:lnTo>
                  <a:pt x="508574" y="2964185"/>
                </a:lnTo>
                <a:lnTo>
                  <a:pt x="476030" y="2928377"/>
                </a:lnTo>
                <a:lnTo>
                  <a:pt x="528241" y="2885299"/>
                </a:lnTo>
                <a:cubicBezTo>
                  <a:pt x="647311" y="2766229"/>
                  <a:pt x="720957" y="2601735"/>
                  <a:pt x="720957" y="2420040"/>
                </a:cubicBezTo>
                <a:cubicBezTo>
                  <a:pt x="720957" y="2056650"/>
                  <a:pt x="426371" y="1762064"/>
                  <a:pt x="62981" y="1762064"/>
                </a:cubicBezTo>
                <a:lnTo>
                  <a:pt x="1610" y="1768251"/>
                </a:lnTo>
                <a:lnTo>
                  <a:pt x="0" y="1736379"/>
                </a:lnTo>
                <a:lnTo>
                  <a:pt x="1610" y="1704508"/>
                </a:lnTo>
                <a:lnTo>
                  <a:pt x="62981" y="1710695"/>
                </a:lnTo>
                <a:cubicBezTo>
                  <a:pt x="426371" y="1710695"/>
                  <a:pt x="720957" y="1416109"/>
                  <a:pt x="720957" y="1052719"/>
                </a:cubicBezTo>
                <a:cubicBezTo>
                  <a:pt x="720957" y="871024"/>
                  <a:pt x="647311" y="706530"/>
                  <a:pt x="528241" y="587460"/>
                </a:cubicBezTo>
                <a:lnTo>
                  <a:pt x="476029" y="544382"/>
                </a:lnTo>
                <a:lnTo>
                  <a:pt x="508574" y="508574"/>
                </a:lnTo>
                <a:lnTo>
                  <a:pt x="530163" y="488953"/>
                </a:lnTo>
                <a:lnTo>
                  <a:pt x="567788" y="534554"/>
                </a:lnTo>
                <a:cubicBezTo>
                  <a:pt x="686858" y="653625"/>
                  <a:pt x="851352" y="727271"/>
                  <a:pt x="1033047" y="727271"/>
                </a:cubicBezTo>
                <a:cubicBezTo>
                  <a:pt x="1396437" y="727271"/>
                  <a:pt x="1691023" y="432685"/>
                  <a:pt x="1691023" y="69295"/>
                </a:cubicBezTo>
                <a:lnTo>
                  <a:pt x="1684303" y="2630"/>
                </a:lnTo>
                <a:close/>
              </a:path>
            </a:pathLst>
          </a:custGeom>
          <a:solidFill>
            <a:schemeClr val="bg1"/>
          </a:solidFill>
          <a:ln w="115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350"/>
          </a:p>
        </p:txBody>
      </p:sp>
      <p:grpSp>
        <p:nvGrpSpPr>
          <p:cNvPr id="35" name="Graphic 4">
            <a:extLst>
              <a:ext uri="{FF2B5EF4-FFF2-40B4-BE49-F238E27FC236}">
                <a16:creationId xmlns:a16="http://schemas.microsoft.com/office/drawing/2014/main" id="{BED87F85-D11F-1A95-BD52-1C743D4242B1}"/>
              </a:ext>
            </a:extLst>
          </p:cNvPr>
          <p:cNvGrpSpPr/>
          <p:nvPr/>
        </p:nvGrpSpPr>
        <p:grpSpPr>
          <a:xfrm>
            <a:off x="3668419" y="1390496"/>
            <a:ext cx="737834" cy="506996"/>
            <a:chOff x="7631008" y="213577"/>
            <a:chExt cx="170466" cy="117134"/>
          </a:xfrm>
          <a:solidFill>
            <a:schemeClr val="accent4">
              <a:lumMod val="60000"/>
              <a:lumOff val="40000"/>
            </a:schemeClr>
          </a:solidFill>
          <a:effectLst>
            <a:glow rad="101600">
              <a:srgbClr val="FFFF00">
                <a:alpha val="60000"/>
              </a:srgbClr>
            </a:glow>
          </a:effectLst>
        </p:grpSpPr>
        <p:sp>
          <p:nvSpPr>
            <p:cNvPr id="36" name="Freeform 111">
              <a:extLst>
                <a:ext uri="{FF2B5EF4-FFF2-40B4-BE49-F238E27FC236}">
                  <a16:creationId xmlns:a16="http://schemas.microsoft.com/office/drawing/2014/main" id="{D46E2B07-2F0A-08F1-C8E9-B66BBDEF7B3B}"/>
                </a:ext>
              </a:extLst>
            </p:cNvPr>
            <p:cNvSpPr/>
            <p:nvPr/>
          </p:nvSpPr>
          <p:spPr>
            <a:xfrm>
              <a:off x="7631008" y="310903"/>
              <a:ext cx="1152" cy="598"/>
            </a:xfrm>
            <a:custGeom>
              <a:avLst/>
              <a:gdLst>
                <a:gd name="connsiteX0" fmla="*/ 0 w 1152"/>
                <a:gd name="connsiteY0" fmla="*/ 299 h 598"/>
                <a:gd name="connsiteX1" fmla="*/ 0 w 1152"/>
                <a:gd name="connsiteY1" fmla="*/ 299 h 598"/>
                <a:gd name="connsiteX2" fmla="*/ 0 w 1152"/>
                <a:gd name="connsiteY2" fmla="*/ 299 h 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2" h="598">
                  <a:moveTo>
                    <a:pt x="0" y="299"/>
                  </a:moveTo>
                  <a:cubicBezTo>
                    <a:pt x="0" y="-738"/>
                    <a:pt x="0" y="1337"/>
                    <a:pt x="0" y="299"/>
                  </a:cubicBezTo>
                  <a:lnTo>
                    <a:pt x="0" y="299"/>
                  </a:ln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37" name="Freeform 112">
              <a:extLst>
                <a:ext uri="{FF2B5EF4-FFF2-40B4-BE49-F238E27FC236}">
                  <a16:creationId xmlns:a16="http://schemas.microsoft.com/office/drawing/2014/main" id="{455378AF-3227-59C7-D229-FEAC7DDE7965}"/>
                </a:ext>
              </a:extLst>
            </p:cNvPr>
            <p:cNvSpPr/>
            <p:nvPr/>
          </p:nvSpPr>
          <p:spPr>
            <a:xfrm>
              <a:off x="7632341" y="213577"/>
              <a:ext cx="169134" cy="117134"/>
            </a:xfrm>
            <a:custGeom>
              <a:avLst/>
              <a:gdLst>
                <a:gd name="connsiteX0" fmla="*/ 90989 w 169134"/>
                <a:gd name="connsiteY0" fmla="*/ 115 h 117134"/>
                <a:gd name="connsiteX1" fmla="*/ 973 w 169134"/>
                <a:gd name="connsiteY1" fmla="*/ 72614 h 117134"/>
                <a:gd name="connsiteX2" fmla="*/ 32323 w 169134"/>
                <a:gd name="connsiteY2" fmla="*/ 116759 h 117134"/>
                <a:gd name="connsiteX3" fmla="*/ 33821 w 169134"/>
                <a:gd name="connsiteY3" fmla="*/ 116874 h 117134"/>
                <a:gd name="connsiteX4" fmla="*/ 104475 w 169134"/>
                <a:gd name="connsiteY4" fmla="*/ 76302 h 117134"/>
                <a:gd name="connsiteX5" fmla="*/ 169134 w 169134"/>
                <a:gd name="connsiteY5" fmla="*/ 42070 h 117134"/>
                <a:gd name="connsiteX6" fmla="*/ 90989 w 169134"/>
                <a:gd name="connsiteY6" fmla="*/ 0 h 117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134" h="117134">
                  <a:moveTo>
                    <a:pt x="90989" y="115"/>
                  </a:moveTo>
                  <a:cubicBezTo>
                    <a:pt x="47191" y="115"/>
                    <a:pt x="10654" y="32042"/>
                    <a:pt x="973" y="72614"/>
                  </a:cubicBezTo>
                  <a:cubicBezTo>
                    <a:pt x="-3984" y="93476"/>
                    <a:pt x="10539" y="114338"/>
                    <a:pt x="32323" y="116759"/>
                  </a:cubicBezTo>
                  <a:cubicBezTo>
                    <a:pt x="32784" y="116759"/>
                    <a:pt x="33245" y="116759"/>
                    <a:pt x="33821" y="116874"/>
                  </a:cubicBezTo>
                  <a:cubicBezTo>
                    <a:pt x="64941" y="119640"/>
                    <a:pt x="87762" y="99931"/>
                    <a:pt x="104475" y="76302"/>
                  </a:cubicBezTo>
                  <a:cubicBezTo>
                    <a:pt x="118075" y="57054"/>
                    <a:pt x="144123" y="28815"/>
                    <a:pt x="169134" y="42070"/>
                  </a:cubicBezTo>
                  <a:cubicBezTo>
                    <a:pt x="152768" y="16828"/>
                    <a:pt x="123838" y="0"/>
                    <a:pt x="90989" y="0"/>
                  </a:cubicBez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38" name="Freeform 110">
            <a:extLst>
              <a:ext uri="{FF2B5EF4-FFF2-40B4-BE49-F238E27FC236}">
                <a16:creationId xmlns:a16="http://schemas.microsoft.com/office/drawing/2014/main" id="{1DDD3FF0-CBE4-41F3-A6FC-ED7840C94C19}"/>
              </a:ext>
            </a:extLst>
          </p:cNvPr>
          <p:cNvSpPr/>
          <p:nvPr/>
        </p:nvSpPr>
        <p:spPr>
          <a:xfrm>
            <a:off x="3667921" y="1578887"/>
            <a:ext cx="800201" cy="621354"/>
          </a:xfrm>
          <a:custGeom>
            <a:avLst/>
            <a:gdLst>
              <a:gd name="connsiteX0" fmla="*/ 178881 w 184875"/>
              <a:gd name="connsiteY0" fmla="*/ 18140 h 143555"/>
              <a:gd name="connsiteX1" fmla="*/ 138195 w 184875"/>
              <a:gd name="connsiteY1" fmla="*/ 3848 h 143555"/>
              <a:gd name="connsiteX2" fmla="*/ 105922 w 184875"/>
              <a:gd name="connsiteY2" fmla="*/ 36582 h 143555"/>
              <a:gd name="connsiteX3" fmla="*/ 35269 w 184875"/>
              <a:gd name="connsiteY3" fmla="*/ 78075 h 143555"/>
              <a:gd name="connsiteX4" fmla="*/ 0 w 184875"/>
              <a:gd name="connsiteY4" fmla="*/ 54101 h 143555"/>
              <a:gd name="connsiteX5" fmla="*/ 93935 w 184875"/>
              <a:gd name="connsiteY5" fmla="*/ 143543 h 143555"/>
              <a:gd name="connsiteX6" fmla="*/ 184874 w 184875"/>
              <a:gd name="connsiteY6" fmla="*/ 50643 h 143555"/>
              <a:gd name="connsiteX7" fmla="*/ 178881 w 184875"/>
              <a:gd name="connsiteY7" fmla="*/ 18140 h 1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4875" h="143555">
                <a:moveTo>
                  <a:pt x="178881" y="18140"/>
                </a:moveTo>
                <a:cubicBezTo>
                  <a:pt x="172657" y="1888"/>
                  <a:pt x="153293" y="-4912"/>
                  <a:pt x="138195" y="3848"/>
                </a:cubicBezTo>
                <a:cubicBezTo>
                  <a:pt x="125055" y="11570"/>
                  <a:pt x="113529" y="25517"/>
                  <a:pt x="105922" y="36582"/>
                </a:cubicBezTo>
                <a:cubicBezTo>
                  <a:pt x="89325" y="60671"/>
                  <a:pt x="66389" y="80842"/>
                  <a:pt x="35269" y="78075"/>
                </a:cubicBezTo>
                <a:cubicBezTo>
                  <a:pt x="17635" y="76462"/>
                  <a:pt x="6109" y="67356"/>
                  <a:pt x="0" y="54101"/>
                </a:cubicBezTo>
                <a:cubicBezTo>
                  <a:pt x="1614" y="104239"/>
                  <a:pt x="43222" y="144350"/>
                  <a:pt x="93935" y="143543"/>
                </a:cubicBezTo>
                <a:cubicBezTo>
                  <a:pt x="144764" y="142736"/>
                  <a:pt x="185105" y="101473"/>
                  <a:pt x="184874" y="50643"/>
                </a:cubicBezTo>
                <a:cubicBezTo>
                  <a:pt x="184874" y="39233"/>
                  <a:pt x="182684" y="28283"/>
                  <a:pt x="178881" y="18140"/>
                </a:cubicBezTo>
                <a:close/>
              </a:path>
            </a:pathLst>
          </a:custGeom>
          <a:solidFill>
            <a:srgbClr val="E0E1E3"/>
          </a:solidFill>
          <a:ln w="1152" cap="flat">
            <a:noFill/>
            <a:prstDash val="solid"/>
            <a:miter/>
          </a:ln>
          <a:effectLst>
            <a:glow rad="101600">
              <a:srgbClr val="FFFF00">
                <a:alpha val="60000"/>
              </a:srgbClr>
            </a:glow>
          </a:effectLst>
        </p:spPr>
        <p:txBody>
          <a:bodyPr rtlCol="0" anchor="ctr"/>
          <a:lstStyle/>
          <a:p>
            <a:endParaRPr lang="en-US" sz="1350"/>
          </a:p>
        </p:txBody>
      </p:sp>
      <p:grpSp>
        <p:nvGrpSpPr>
          <p:cNvPr id="39" name="Graphic 4">
            <a:extLst>
              <a:ext uri="{FF2B5EF4-FFF2-40B4-BE49-F238E27FC236}">
                <a16:creationId xmlns:a16="http://schemas.microsoft.com/office/drawing/2014/main" id="{C5A25621-BEE9-E284-6D58-5EAC25E41293}"/>
              </a:ext>
            </a:extLst>
          </p:cNvPr>
          <p:cNvGrpSpPr/>
          <p:nvPr/>
        </p:nvGrpSpPr>
        <p:grpSpPr>
          <a:xfrm>
            <a:off x="4704086" y="1390496"/>
            <a:ext cx="738336" cy="506996"/>
            <a:chOff x="7870284" y="213577"/>
            <a:chExt cx="170582" cy="117134"/>
          </a:xfrm>
          <a:solidFill>
            <a:srgbClr val="C4D5F4"/>
          </a:solidFill>
        </p:grpSpPr>
        <p:sp>
          <p:nvSpPr>
            <p:cNvPr id="40" name="Freeform 107">
              <a:extLst>
                <a:ext uri="{FF2B5EF4-FFF2-40B4-BE49-F238E27FC236}">
                  <a16:creationId xmlns:a16="http://schemas.microsoft.com/office/drawing/2014/main" id="{22764974-98D4-3144-2040-9AB08356130B}"/>
                </a:ext>
              </a:extLst>
            </p:cNvPr>
            <p:cNvSpPr/>
            <p:nvPr/>
          </p:nvSpPr>
          <p:spPr>
            <a:xfrm>
              <a:off x="7870284" y="310903"/>
              <a:ext cx="1152" cy="598"/>
            </a:xfrm>
            <a:custGeom>
              <a:avLst/>
              <a:gdLst>
                <a:gd name="connsiteX0" fmla="*/ 0 w 1152"/>
                <a:gd name="connsiteY0" fmla="*/ 299 h 598"/>
                <a:gd name="connsiteX1" fmla="*/ 0 w 1152"/>
                <a:gd name="connsiteY1" fmla="*/ 299 h 598"/>
                <a:gd name="connsiteX2" fmla="*/ 0 w 1152"/>
                <a:gd name="connsiteY2" fmla="*/ 299 h 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2" h="598">
                  <a:moveTo>
                    <a:pt x="0" y="299"/>
                  </a:moveTo>
                  <a:cubicBezTo>
                    <a:pt x="0" y="-738"/>
                    <a:pt x="0" y="1337"/>
                    <a:pt x="0" y="299"/>
                  </a:cubicBezTo>
                  <a:lnTo>
                    <a:pt x="0" y="299"/>
                  </a:ln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41" name="Freeform 108">
              <a:extLst>
                <a:ext uri="{FF2B5EF4-FFF2-40B4-BE49-F238E27FC236}">
                  <a16:creationId xmlns:a16="http://schemas.microsoft.com/office/drawing/2014/main" id="{45F93694-820D-3A4E-C824-7B007BFC0A3C}"/>
                </a:ext>
              </a:extLst>
            </p:cNvPr>
            <p:cNvSpPr/>
            <p:nvPr/>
          </p:nvSpPr>
          <p:spPr>
            <a:xfrm>
              <a:off x="7871732" y="213577"/>
              <a:ext cx="169134" cy="117134"/>
            </a:xfrm>
            <a:custGeom>
              <a:avLst/>
              <a:gdLst>
                <a:gd name="connsiteX0" fmla="*/ 90989 w 169134"/>
                <a:gd name="connsiteY0" fmla="*/ 115 h 117134"/>
                <a:gd name="connsiteX1" fmla="*/ 973 w 169134"/>
                <a:gd name="connsiteY1" fmla="*/ 72614 h 117134"/>
                <a:gd name="connsiteX2" fmla="*/ 32323 w 169134"/>
                <a:gd name="connsiteY2" fmla="*/ 116759 h 117134"/>
                <a:gd name="connsiteX3" fmla="*/ 33821 w 169134"/>
                <a:gd name="connsiteY3" fmla="*/ 116874 h 117134"/>
                <a:gd name="connsiteX4" fmla="*/ 104474 w 169134"/>
                <a:gd name="connsiteY4" fmla="*/ 76302 h 117134"/>
                <a:gd name="connsiteX5" fmla="*/ 169134 w 169134"/>
                <a:gd name="connsiteY5" fmla="*/ 42070 h 117134"/>
                <a:gd name="connsiteX6" fmla="*/ 90989 w 169134"/>
                <a:gd name="connsiteY6" fmla="*/ 0 h 117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134" h="117134">
                  <a:moveTo>
                    <a:pt x="90989" y="115"/>
                  </a:moveTo>
                  <a:cubicBezTo>
                    <a:pt x="47191" y="115"/>
                    <a:pt x="10654" y="32042"/>
                    <a:pt x="973" y="72614"/>
                  </a:cubicBezTo>
                  <a:cubicBezTo>
                    <a:pt x="-3984" y="93476"/>
                    <a:pt x="10539" y="114338"/>
                    <a:pt x="32323" y="116759"/>
                  </a:cubicBezTo>
                  <a:cubicBezTo>
                    <a:pt x="32784" y="116759"/>
                    <a:pt x="33245" y="116759"/>
                    <a:pt x="33821" y="116874"/>
                  </a:cubicBezTo>
                  <a:cubicBezTo>
                    <a:pt x="64941" y="119640"/>
                    <a:pt x="87762" y="99931"/>
                    <a:pt x="104474" y="76302"/>
                  </a:cubicBezTo>
                  <a:cubicBezTo>
                    <a:pt x="118075" y="57054"/>
                    <a:pt x="144124" y="28815"/>
                    <a:pt x="169134" y="42070"/>
                  </a:cubicBezTo>
                  <a:cubicBezTo>
                    <a:pt x="152768" y="16828"/>
                    <a:pt x="123838" y="0"/>
                    <a:pt x="90989" y="0"/>
                  </a:cubicBez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43" name="Freeform 106">
            <a:extLst>
              <a:ext uri="{FF2B5EF4-FFF2-40B4-BE49-F238E27FC236}">
                <a16:creationId xmlns:a16="http://schemas.microsoft.com/office/drawing/2014/main" id="{B25FB89B-2C49-85E3-675E-E46F83ED5D03}"/>
              </a:ext>
            </a:extLst>
          </p:cNvPr>
          <p:cNvSpPr/>
          <p:nvPr/>
        </p:nvSpPr>
        <p:spPr>
          <a:xfrm>
            <a:off x="4703587" y="1578887"/>
            <a:ext cx="800201" cy="621354"/>
          </a:xfrm>
          <a:custGeom>
            <a:avLst/>
            <a:gdLst>
              <a:gd name="connsiteX0" fmla="*/ 178881 w 184875"/>
              <a:gd name="connsiteY0" fmla="*/ 18140 h 143555"/>
              <a:gd name="connsiteX1" fmla="*/ 138195 w 184875"/>
              <a:gd name="connsiteY1" fmla="*/ 3848 h 143555"/>
              <a:gd name="connsiteX2" fmla="*/ 105922 w 184875"/>
              <a:gd name="connsiteY2" fmla="*/ 36582 h 143555"/>
              <a:gd name="connsiteX3" fmla="*/ 35269 w 184875"/>
              <a:gd name="connsiteY3" fmla="*/ 78075 h 143555"/>
              <a:gd name="connsiteX4" fmla="*/ 0 w 184875"/>
              <a:gd name="connsiteY4" fmla="*/ 54101 h 143555"/>
              <a:gd name="connsiteX5" fmla="*/ 93935 w 184875"/>
              <a:gd name="connsiteY5" fmla="*/ 143543 h 143555"/>
              <a:gd name="connsiteX6" fmla="*/ 184874 w 184875"/>
              <a:gd name="connsiteY6" fmla="*/ 50643 h 143555"/>
              <a:gd name="connsiteX7" fmla="*/ 178881 w 184875"/>
              <a:gd name="connsiteY7" fmla="*/ 18140 h 1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4875" h="143555">
                <a:moveTo>
                  <a:pt x="178881" y="18140"/>
                </a:moveTo>
                <a:cubicBezTo>
                  <a:pt x="172657" y="1888"/>
                  <a:pt x="153293" y="-4912"/>
                  <a:pt x="138195" y="3848"/>
                </a:cubicBezTo>
                <a:cubicBezTo>
                  <a:pt x="125055" y="11570"/>
                  <a:pt x="113529" y="25517"/>
                  <a:pt x="105922" y="36582"/>
                </a:cubicBezTo>
                <a:cubicBezTo>
                  <a:pt x="89325" y="60671"/>
                  <a:pt x="66389" y="80842"/>
                  <a:pt x="35269" y="78075"/>
                </a:cubicBezTo>
                <a:cubicBezTo>
                  <a:pt x="17635" y="76462"/>
                  <a:pt x="6109" y="67356"/>
                  <a:pt x="0" y="54101"/>
                </a:cubicBezTo>
                <a:cubicBezTo>
                  <a:pt x="1614" y="104239"/>
                  <a:pt x="43222" y="144350"/>
                  <a:pt x="93935" y="143543"/>
                </a:cubicBezTo>
                <a:cubicBezTo>
                  <a:pt x="144764" y="142736"/>
                  <a:pt x="185105" y="101473"/>
                  <a:pt x="184874" y="50643"/>
                </a:cubicBezTo>
                <a:cubicBezTo>
                  <a:pt x="184874" y="39233"/>
                  <a:pt x="182684" y="28283"/>
                  <a:pt x="178881" y="18140"/>
                </a:cubicBezTo>
                <a:close/>
              </a:path>
            </a:pathLst>
          </a:custGeom>
          <a:solidFill>
            <a:srgbClr val="E0E1E3"/>
          </a:solidFill>
          <a:ln w="11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/>
          </a:p>
        </p:txBody>
      </p:sp>
      <p:grpSp>
        <p:nvGrpSpPr>
          <p:cNvPr id="44" name="Graphic 4">
            <a:extLst>
              <a:ext uri="{FF2B5EF4-FFF2-40B4-BE49-F238E27FC236}">
                <a16:creationId xmlns:a16="http://schemas.microsoft.com/office/drawing/2014/main" id="{52C17D0A-4D1A-A94F-20E9-427FD8EE2367}"/>
              </a:ext>
            </a:extLst>
          </p:cNvPr>
          <p:cNvGrpSpPr/>
          <p:nvPr/>
        </p:nvGrpSpPr>
        <p:grpSpPr>
          <a:xfrm>
            <a:off x="3668419" y="3896900"/>
            <a:ext cx="737834" cy="506991"/>
            <a:chOff x="7631008" y="792646"/>
            <a:chExt cx="170466" cy="117133"/>
          </a:xfrm>
          <a:solidFill>
            <a:schemeClr val="accent1">
              <a:lumMod val="60000"/>
              <a:lumOff val="40000"/>
            </a:schemeClr>
          </a:solidFill>
          <a:effectLst/>
        </p:grpSpPr>
        <p:sp>
          <p:nvSpPr>
            <p:cNvPr id="45" name="Freeform 103">
              <a:extLst>
                <a:ext uri="{FF2B5EF4-FFF2-40B4-BE49-F238E27FC236}">
                  <a16:creationId xmlns:a16="http://schemas.microsoft.com/office/drawing/2014/main" id="{CCBA9186-4CF3-A683-43BA-C8CE760350CE}"/>
                </a:ext>
              </a:extLst>
            </p:cNvPr>
            <p:cNvSpPr/>
            <p:nvPr/>
          </p:nvSpPr>
          <p:spPr>
            <a:xfrm>
              <a:off x="7631008" y="889972"/>
              <a:ext cx="0" cy="598"/>
            </a:xfrm>
            <a:custGeom>
              <a:avLst/>
              <a:gdLst>
                <a:gd name="connsiteX0" fmla="*/ 0 w 0"/>
                <a:gd name="connsiteY0" fmla="*/ 299 h 598"/>
                <a:gd name="connsiteX1" fmla="*/ 0 w 0"/>
                <a:gd name="connsiteY1" fmla="*/ 299 h 598"/>
                <a:gd name="connsiteX2" fmla="*/ 0 w 0"/>
                <a:gd name="connsiteY2" fmla="*/ 299 h 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598">
                  <a:moveTo>
                    <a:pt x="0" y="299"/>
                  </a:moveTo>
                  <a:cubicBezTo>
                    <a:pt x="0" y="-738"/>
                    <a:pt x="0" y="1337"/>
                    <a:pt x="0" y="299"/>
                  </a:cubicBezTo>
                  <a:lnTo>
                    <a:pt x="0" y="299"/>
                  </a:ln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46" name="Freeform 104">
              <a:extLst>
                <a:ext uri="{FF2B5EF4-FFF2-40B4-BE49-F238E27FC236}">
                  <a16:creationId xmlns:a16="http://schemas.microsoft.com/office/drawing/2014/main" id="{2FE59771-B402-6676-E1DB-4E2F0FEDB284}"/>
                </a:ext>
              </a:extLst>
            </p:cNvPr>
            <p:cNvSpPr/>
            <p:nvPr/>
          </p:nvSpPr>
          <p:spPr>
            <a:xfrm>
              <a:off x="7632341" y="792646"/>
              <a:ext cx="169134" cy="117133"/>
            </a:xfrm>
            <a:custGeom>
              <a:avLst/>
              <a:gdLst>
                <a:gd name="connsiteX0" fmla="*/ 90989 w 169134"/>
                <a:gd name="connsiteY0" fmla="*/ 115 h 117133"/>
                <a:gd name="connsiteX1" fmla="*/ 973 w 169134"/>
                <a:gd name="connsiteY1" fmla="*/ 72614 h 117133"/>
                <a:gd name="connsiteX2" fmla="*/ 32323 w 169134"/>
                <a:gd name="connsiteY2" fmla="*/ 116759 h 117133"/>
                <a:gd name="connsiteX3" fmla="*/ 33821 w 169134"/>
                <a:gd name="connsiteY3" fmla="*/ 116874 h 117133"/>
                <a:gd name="connsiteX4" fmla="*/ 104475 w 169134"/>
                <a:gd name="connsiteY4" fmla="*/ 76302 h 117133"/>
                <a:gd name="connsiteX5" fmla="*/ 169134 w 169134"/>
                <a:gd name="connsiteY5" fmla="*/ 42070 h 117133"/>
                <a:gd name="connsiteX6" fmla="*/ 90989 w 169134"/>
                <a:gd name="connsiteY6" fmla="*/ 0 h 11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134" h="117133">
                  <a:moveTo>
                    <a:pt x="90989" y="115"/>
                  </a:moveTo>
                  <a:cubicBezTo>
                    <a:pt x="47191" y="115"/>
                    <a:pt x="10654" y="32042"/>
                    <a:pt x="973" y="72614"/>
                  </a:cubicBezTo>
                  <a:cubicBezTo>
                    <a:pt x="-3984" y="93476"/>
                    <a:pt x="10539" y="114338"/>
                    <a:pt x="32323" y="116759"/>
                  </a:cubicBezTo>
                  <a:cubicBezTo>
                    <a:pt x="32784" y="116759"/>
                    <a:pt x="33245" y="116759"/>
                    <a:pt x="33821" y="116874"/>
                  </a:cubicBezTo>
                  <a:cubicBezTo>
                    <a:pt x="64941" y="119640"/>
                    <a:pt x="87762" y="99931"/>
                    <a:pt x="104475" y="76302"/>
                  </a:cubicBezTo>
                  <a:cubicBezTo>
                    <a:pt x="118075" y="57054"/>
                    <a:pt x="144123" y="28815"/>
                    <a:pt x="169134" y="42070"/>
                  </a:cubicBezTo>
                  <a:cubicBezTo>
                    <a:pt x="152768" y="16828"/>
                    <a:pt x="123838" y="0"/>
                    <a:pt x="90989" y="0"/>
                  </a:cubicBez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47" name="Freeform 102">
            <a:extLst>
              <a:ext uri="{FF2B5EF4-FFF2-40B4-BE49-F238E27FC236}">
                <a16:creationId xmlns:a16="http://schemas.microsoft.com/office/drawing/2014/main" id="{3E98ED6A-438E-FCD9-70DD-162CC7A4ED9F}"/>
              </a:ext>
            </a:extLst>
          </p:cNvPr>
          <p:cNvSpPr/>
          <p:nvPr/>
        </p:nvSpPr>
        <p:spPr>
          <a:xfrm>
            <a:off x="3667921" y="4085291"/>
            <a:ext cx="800201" cy="621354"/>
          </a:xfrm>
          <a:custGeom>
            <a:avLst/>
            <a:gdLst>
              <a:gd name="connsiteX0" fmla="*/ 178881 w 184875"/>
              <a:gd name="connsiteY0" fmla="*/ 18140 h 143555"/>
              <a:gd name="connsiteX1" fmla="*/ 138195 w 184875"/>
              <a:gd name="connsiteY1" fmla="*/ 3848 h 143555"/>
              <a:gd name="connsiteX2" fmla="*/ 105922 w 184875"/>
              <a:gd name="connsiteY2" fmla="*/ 36582 h 143555"/>
              <a:gd name="connsiteX3" fmla="*/ 35269 w 184875"/>
              <a:gd name="connsiteY3" fmla="*/ 78075 h 143555"/>
              <a:gd name="connsiteX4" fmla="*/ 0 w 184875"/>
              <a:gd name="connsiteY4" fmla="*/ 54101 h 143555"/>
              <a:gd name="connsiteX5" fmla="*/ 93935 w 184875"/>
              <a:gd name="connsiteY5" fmla="*/ 143543 h 143555"/>
              <a:gd name="connsiteX6" fmla="*/ 184874 w 184875"/>
              <a:gd name="connsiteY6" fmla="*/ 50643 h 143555"/>
              <a:gd name="connsiteX7" fmla="*/ 178881 w 184875"/>
              <a:gd name="connsiteY7" fmla="*/ 18140 h 1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4875" h="143555">
                <a:moveTo>
                  <a:pt x="178881" y="18140"/>
                </a:moveTo>
                <a:cubicBezTo>
                  <a:pt x="172657" y="1888"/>
                  <a:pt x="153293" y="-4912"/>
                  <a:pt x="138195" y="3848"/>
                </a:cubicBezTo>
                <a:cubicBezTo>
                  <a:pt x="125055" y="11570"/>
                  <a:pt x="113529" y="25517"/>
                  <a:pt x="105922" y="36582"/>
                </a:cubicBezTo>
                <a:cubicBezTo>
                  <a:pt x="89325" y="60671"/>
                  <a:pt x="66389" y="80842"/>
                  <a:pt x="35269" y="78075"/>
                </a:cubicBezTo>
                <a:cubicBezTo>
                  <a:pt x="17635" y="76462"/>
                  <a:pt x="6109" y="67356"/>
                  <a:pt x="0" y="54101"/>
                </a:cubicBezTo>
                <a:cubicBezTo>
                  <a:pt x="1614" y="104239"/>
                  <a:pt x="43222" y="144350"/>
                  <a:pt x="93935" y="143543"/>
                </a:cubicBezTo>
                <a:cubicBezTo>
                  <a:pt x="144764" y="142736"/>
                  <a:pt x="185105" y="101473"/>
                  <a:pt x="184874" y="50643"/>
                </a:cubicBezTo>
                <a:cubicBezTo>
                  <a:pt x="184874" y="39233"/>
                  <a:pt x="182684" y="28283"/>
                  <a:pt x="178881" y="18140"/>
                </a:cubicBezTo>
                <a:close/>
              </a:path>
            </a:pathLst>
          </a:custGeom>
          <a:solidFill>
            <a:srgbClr val="E0E1E3"/>
          </a:solidFill>
          <a:ln w="1152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endParaRPr lang="en-US" sz="1350"/>
          </a:p>
        </p:txBody>
      </p:sp>
      <p:grpSp>
        <p:nvGrpSpPr>
          <p:cNvPr id="48" name="Graphic 4">
            <a:extLst>
              <a:ext uri="{FF2B5EF4-FFF2-40B4-BE49-F238E27FC236}">
                <a16:creationId xmlns:a16="http://schemas.microsoft.com/office/drawing/2014/main" id="{3474E0E4-46B2-6938-9CB7-EC8566A477FC}"/>
              </a:ext>
            </a:extLst>
          </p:cNvPr>
          <p:cNvGrpSpPr/>
          <p:nvPr/>
        </p:nvGrpSpPr>
        <p:grpSpPr>
          <a:xfrm>
            <a:off x="4704086" y="3896900"/>
            <a:ext cx="738336" cy="506991"/>
            <a:chOff x="7870284" y="792646"/>
            <a:chExt cx="170582" cy="117133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49" name="Freeform 99">
              <a:extLst>
                <a:ext uri="{FF2B5EF4-FFF2-40B4-BE49-F238E27FC236}">
                  <a16:creationId xmlns:a16="http://schemas.microsoft.com/office/drawing/2014/main" id="{41763A5C-C9F6-DB08-C625-C6C515B75F2D}"/>
                </a:ext>
              </a:extLst>
            </p:cNvPr>
            <p:cNvSpPr/>
            <p:nvPr/>
          </p:nvSpPr>
          <p:spPr>
            <a:xfrm>
              <a:off x="7870284" y="889972"/>
              <a:ext cx="1152" cy="598"/>
            </a:xfrm>
            <a:custGeom>
              <a:avLst/>
              <a:gdLst>
                <a:gd name="connsiteX0" fmla="*/ 0 w 1152"/>
                <a:gd name="connsiteY0" fmla="*/ 299 h 598"/>
                <a:gd name="connsiteX1" fmla="*/ 0 w 1152"/>
                <a:gd name="connsiteY1" fmla="*/ 299 h 598"/>
                <a:gd name="connsiteX2" fmla="*/ 0 w 1152"/>
                <a:gd name="connsiteY2" fmla="*/ 299 h 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2" h="598">
                  <a:moveTo>
                    <a:pt x="0" y="299"/>
                  </a:moveTo>
                  <a:cubicBezTo>
                    <a:pt x="0" y="-738"/>
                    <a:pt x="0" y="1337"/>
                    <a:pt x="0" y="299"/>
                  </a:cubicBezTo>
                  <a:lnTo>
                    <a:pt x="0" y="299"/>
                  </a:ln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50" name="Freeform 100">
              <a:extLst>
                <a:ext uri="{FF2B5EF4-FFF2-40B4-BE49-F238E27FC236}">
                  <a16:creationId xmlns:a16="http://schemas.microsoft.com/office/drawing/2014/main" id="{1029C276-E94E-A9A5-4588-479006640BA1}"/>
                </a:ext>
              </a:extLst>
            </p:cNvPr>
            <p:cNvSpPr/>
            <p:nvPr/>
          </p:nvSpPr>
          <p:spPr>
            <a:xfrm>
              <a:off x="7871732" y="792646"/>
              <a:ext cx="169134" cy="117133"/>
            </a:xfrm>
            <a:custGeom>
              <a:avLst/>
              <a:gdLst>
                <a:gd name="connsiteX0" fmla="*/ 90989 w 169134"/>
                <a:gd name="connsiteY0" fmla="*/ 115 h 117133"/>
                <a:gd name="connsiteX1" fmla="*/ 973 w 169134"/>
                <a:gd name="connsiteY1" fmla="*/ 72614 h 117133"/>
                <a:gd name="connsiteX2" fmla="*/ 32323 w 169134"/>
                <a:gd name="connsiteY2" fmla="*/ 116759 h 117133"/>
                <a:gd name="connsiteX3" fmla="*/ 33821 w 169134"/>
                <a:gd name="connsiteY3" fmla="*/ 116874 h 117133"/>
                <a:gd name="connsiteX4" fmla="*/ 104474 w 169134"/>
                <a:gd name="connsiteY4" fmla="*/ 76302 h 117133"/>
                <a:gd name="connsiteX5" fmla="*/ 169134 w 169134"/>
                <a:gd name="connsiteY5" fmla="*/ 42070 h 117133"/>
                <a:gd name="connsiteX6" fmla="*/ 90989 w 169134"/>
                <a:gd name="connsiteY6" fmla="*/ 0 h 11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134" h="117133">
                  <a:moveTo>
                    <a:pt x="90989" y="115"/>
                  </a:moveTo>
                  <a:cubicBezTo>
                    <a:pt x="47191" y="115"/>
                    <a:pt x="10654" y="32042"/>
                    <a:pt x="973" y="72614"/>
                  </a:cubicBezTo>
                  <a:cubicBezTo>
                    <a:pt x="-3984" y="93476"/>
                    <a:pt x="10539" y="114338"/>
                    <a:pt x="32323" y="116759"/>
                  </a:cubicBezTo>
                  <a:cubicBezTo>
                    <a:pt x="32784" y="116759"/>
                    <a:pt x="33245" y="116759"/>
                    <a:pt x="33821" y="116874"/>
                  </a:cubicBezTo>
                  <a:cubicBezTo>
                    <a:pt x="64941" y="119640"/>
                    <a:pt x="87762" y="99931"/>
                    <a:pt x="104474" y="76302"/>
                  </a:cubicBezTo>
                  <a:cubicBezTo>
                    <a:pt x="118075" y="57054"/>
                    <a:pt x="144124" y="28815"/>
                    <a:pt x="169134" y="42070"/>
                  </a:cubicBezTo>
                  <a:cubicBezTo>
                    <a:pt x="152768" y="16828"/>
                    <a:pt x="123838" y="0"/>
                    <a:pt x="90989" y="0"/>
                  </a:cubicBez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51" name="Freeform 98">
            <a:extLst>
              <a:ext uri="{FF2B5EF4-FFF2-40B4-BE49-F238E27FC236}">
                <a16:creationId xmlns:a16="http://schemas.microsoft.com/office/drawing/2014/main" id="{633F50AA-E0B1-F35F-DFF8-CDFEED569195}"/>
              </a:ext>
            </a:extLst>
          </p:cNvPr>
          <p:cNvSpPr/>
          <p:nvPr/>
        </p:nvSpPr>
        <p:spPr>
          <a:xfrm>
            <a:off x="4703587" y="4085291"/>
            <a:ext cx="800201" cy="621354"/>
          </a:xfrm>
          <a:custGeom>
            <a:avLst/>
            <a:gdLst>
              <a:gd name="connsiteX0" fmla="*/ 178881 w 184875"/>
              <a:gd name="connsiteY0" fmla="*/ 18140 h 143555"/>
              <a:gd name="connsiteX1" fmla="*/ 138195 w 184875"/>
              <a:gd name="connsiteY1" fmla="*/ 3848 h 143555"/>
              <a:gd name="connsiteX2" fmla="*/ 105922 w 184875"/>
              <a:gd name="connsiteY2" fmla="*/ 36582 h 143555"/>
              <a:gd name="connsiteX3" fmla="*/ 35269 w 184875"/>
              <a:gd name="connsiteY3" fmla="*/ 78075 h 143555"/>
              <a:gd name="connsiteX4" fmla="*/ 0 w 184875"/>
              <a:gd name="connsiteY4" fmla="*/ 54101 h 143555"/>
              <a:gd name="connsiteX5" fmla="*/ 93935 w 184875"/>
              <a:gd name="connsiteY5" fmla="*/ 143543 h 143555"/>
              <a:gd name="connsiteX6" fmla="*/ 184874 w 184875"/>
              <a:gd name="connsiteY6" fmla="*/ 50643 h 143555"/>
              <a:gd name="connsiteX7" fmla="*/ 178881 w 184875"/>
              <a:gd name="connsiteY7" fmla="*/ 18140 h 1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4875" h="143555">
                <a:moveTo>
                  <a:pt x="178881" y="18140"/>
                </a:moveTo>
                <a:cubicBezTo>
                  <a:pt x="172657" y="1888"/>
                  <a:pt x="153293" y="-4912"/>
                  <a:pt x="138195" y="3848"/>
                </a:cubicBezTo>
                <a:cubicBezTo>
                  <a:pt x="125055" y="11570"/>
                  <a:pt x="113529" y="25517"/>
                  <a:pt x="105922" y="36582"/>
                </a:cubicBezTo>
                <a:cubicBezTo>
                  <a:pt x="89325" y="60671"/>
                  <a:pt x="66389" y="80842"/>
                  <a:pt x="35269" y="78075"/>
                </a:cubicBezTo>
                <a:cubicBezTo>
                  <a:pt x="17635" y="76462"/>
                  <a:pt x="6109" y="67356"/>
                  <a:pt x="0" y="54101"/>
                </a:cubicBezTo>
                <a:cubicBezTo>
                  <a:pt x="1614" y="104239"/>
                  <a:pt x="43222" y="144350"/>
                  <a:pt x="93935" y="143543"/>
                </a:cubicBezTo>
                <a:cubicBezTo>
                  <a:pt x="144764" y="142736"/>
                  <a:pt x="185105" y="101473"/>
                  <a:pt x="184874" y="50643"/>
                </a:cubicBezTo>
                <a:cubicBezTo>
                  <a:pt x="184874" y="39233"/>
                  <a:pt x="182684" y="28283"/>
                  <a:pt x="178881" y="18140"/>
                </a:cubicBezTo>
                <a:close/>
              </a:path>
            </a:pathLst>
          </a:custGeom>
          <a:solidFill>
            <a:srgbClr val="E0E1E3"/>
          </a:solidFill>
          <a:ln w="11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/>
          </a:p>
        </p:txBody>
      </p:sp>
      <p:grpSp>
        <p:nvGrpSpPr>
          <p:cNvPr id="52" name="Graphic 4">
            <a:extLst>
              <a:ext uri="{FF2B5EF4-FFF2-40B4-BE49-F238E27FC236}">
                <a16:creationId xmlns:a16="http://schemas.microsoft.com/office/drawing/2014/main" id="{ACCCFD05-ABF7-8001-A7BA-BDA2B71829E6}"/>
              </a:ext>
            </a:extLst>
          </p:cNvPr>
          <p:cNvGrpSpPr/>
          <p:nvPr/>
        </p:nvGrpSpPr>
        <p:grpSpPr>
          <a:xfrm>
            <a:off x="5431449" y="2126854"/>
            <a:ext cx="738336" cy="506991"/>
            <a:chOff x="8038331" y="383702"/>
            <a:chExt cx="170582" cy="117133"/>
          </a:xfrm>
          <a:solidFill>
            <a:srgbClr val="C8F8F0"/>
          </a:solidFill>
        </p:grpSpPr>
        <p:sp>
          <p:nvSpPr>
            <p:cNvPr id="53" name="Freeform 95">
              <a:extLst>
                <a:ext uri="{FF2B5EF4-FFF2-40B4-BE49-F238E27FC236}">
                  <a16:creationId xmlns:a16="http://schemas.microsoft.com/office/drawing/2014/main" id="{F179C6BA-4E5F-15D9-7FB5-8F56E99980A0}"/>
                </a:ext>
              </a:extLst>
            </p:cNvPr>
            <p:cNvSpPr/>
            <p:nvPr/>
          </p:nvSpPr>
          <p:spPr>
            <a:xfrm>
              <a:off x="8038331" y="481028"/>
              <a:ext cx="1152" cy="598"/>
            </a:xfrm>
            <a:custGeom>
              <a:avLst/>
              <a:gdLst>
                <a:gd name="connsiteX0" fmla="*/ 0 w 1152"/>
                <a:gd name="connsiteY0" fmla="*/ 299 h 598"/>
                <a:gd name="connsiteX1" fmla="*/ 0 w 1152"/>
                <a:gd name="connsiteY1" fmla="*/ 299 h 598"/>
                <a:gd name="connsiteX2" fmla="*/ 0 w 1152"/>
                <a:gd name="connsiteY2" fmla="*/ 299 h 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2" h="598">
                  <a:moveTo>
                    <a:pt x="0" y="299"/>
                  </a:moveTo>
                  <a:cubicBezTo>
                    <a:pt x="0" y="-738"/>
                    <a:pt x="0" y="1337"/>
                    <a:pt x="0" y="299"/>
                  </a:cubicBezTo>
                  <a:lnTo>
                    <a:pt x="0" y="299"/>
                  </a:ln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54" name="Freeform 96">
              <a:extLst>
                <a:ext uri="{FF2B5EF4-FFF2-40B4-BE49-F238E27FC236}">
                  <a16:creationId xmlns:a16="http://schemas.microsoft.com/office/drawing/2014/main" id="{C842111A-8A1C-41BB-E968-79D7CD233930}"/>
                </a:ext>
              </a:extLst>
            </p:cNvPr>
            <p:cNvSpPr/>
            <p:nvPr/>
          </p:nvSpPr>
          <p:spPr>
            <a:xfrm>
              <a:off x="8039778" y="383702"/>
              <a:ext cx="169134" cy="117133"/>
            </a:xfrm>
            <a:custGeom>
              <a:avLst/>
              <a:gdLst>
                <a:gd name="connsiteX0" fmla="*/ 90989 w 169134"/>
                <a:gd name="connsiteY0" fmla="*/ 115 h 117133"/>
                <a:gd name="connsiteX1" fmla="*/ 972 w 169134"/>
                <a:gd name="connsiteY1" fmla="*/ 72614 h 117133"/>
                <a:gd name="connsiteX2" fmla="*/ 32323 w 169134"/>
                <a:gd name="connsiteY2" fmla="*/ 116759 h 117133"/>
                <a:gd name="connsiteX3" fmla="*/ 33821 w 169134"/>
                <a:gd name="connsiteY3" fmla="*/ 116874 h 117133"/>
                <a:gd name="connsiteX4" fmla="*/ 104475 w 169134"/>
                <a:gd name="connsiteY4" fmla="*/ 76302 h 117133"/>
                <a:gd name="connsiteX5" fmla="*/ 169135 w 169134"/>
                <a:gd name="connsiteY5" fmla="*/ 42070 h 117133"/>
                <a:gd name="connsiteX6" fmla="*/ 90989 w 169134"/>
                <a:gd name="connsiteY6" fmla="*/ 0 h 11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134" h="117133">
                  <a:moveTo>
                    <a:pt x="90989" y="115"/>
                  </a:moveTo>
                  <a:cubicBezTo>
                    <a:pt x="47191" y="115"/>
                    <a:pt x="10655" y="32042"/>
                    <a:pt x="972" y="72614"/>
                  </a:cubicBezTo>
                  <a:cubicBezTo>
                    <a:pt x="-3983" y="93476"/>
                    <a:pt x="10539" y="114338"/>
                    <a:pt x="32323" y="116759"/>
                  </a:cubicBezTo>
                  <a:cubicBezTo>
                    <a:pt x="32784" y="116759"/>
                    <a:pt x="33245" y="116759"/>
                    <a:pt x="33821" y="116874"/>
                  </a:cubicBezTo>
                  <a:cubicBezTo>
                    <a:pt x="64941" y="119640"/>
                    <a:pt x="87762" y="99931"/>
                    <a:pt x="104475" y="76302"/>
                  </a:cubicBezTo>
                  <a:cubicBezTo>
                    <a:pt x="118075" y="57054"/>
                    <a:pt x="144123" y="28815"/>
                    <a:pt x="169135" y="42070"/>
                  </a:cubicBezTo>
                  <a:cubicBezTo>
                    <a:pt x="152768" y="16828"/>
                    <a:pt x="123838" y="0"/>
                    <a:pt x="90989" y="0"/>
                  </a:cubicBez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57" name="Freeform 94">
            <a:extLst>
              <a:ext uri="{FF2B5EF4-FFF2-40B4-BE49-F238E27FC236}">
                <a16:creationId xmlns:a16="http://schemas.microsoft.com/office/drawing/2014/main" id="{E61BB47D-116F-81C9-DD66-F130A19D2B77}"/>
              </a:ext>
            </a:extLst>
          </p:cNvPr>
          <p:cNvSpPr/>
          <p:nvPr/>
        </p:nvSpPr>
        <p:spPr>
          <a:xfrm>
            <a:off x="5431449" y="2315240"/>
            <a:ext cx="800201" cy="621354"/>
          </a:xfrm>
          <a:custGeom>
            <a:avLst/>
            <a:gdLst>
              <a:gd name="connsiteX0" fmla="*/ 178880 w 184875"/>
              <a:gd name="connsiteY0" fmla="*/ 18140 h 143555"/>
              <a:gd name="connsiteX1" fmla="*/ 138195 w 184875"/>
              <a:gd name="connsiteY1" fmla="*/ 3848 h 143555"/>
              <a:gd name="connsiteX2" fmla="*/ 105922 w 184875"/>
              <a:gd name="connsiteY2" fmla="*/ 36582 h 143555"/>
              <a:gd name="connsiteX3" fmla="*/ 35269 w 184875"/>
              <a:gd name="connsiteY3" fmla="*/ 78075 h 143555"/>
              <a:gd name="connsiteX4" fmla="*/ 0 w 184875"/>
              <a:gd name="connsiteY4" fmla="*/ 54101 h 143555"/>
              <a:gd name="connsiteX5" fmla="*/ 93935 w 184875"/>
              <a:gd name="connsiteY5" fmla="*/ 143543 h 143555"/>
              <a:gd name="connsiteX6" fmla="*/ 184874 w 184875"/>
              <a:gd name="connsiteY6" fmla="*/ 50643 h 143555"/>
              <a:gd name="connsiteX7" fmla="*/ 178880 w 184875"/>
              <a:gd name="connsiteY7" fmla="*/ 18140 h 1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4875" h="143555">
                <a:moveTo>
                  <a:pt x="178880" y="18140"/>
                </a:moveTo>
                <a:cubicBezTo>
                  <a:pt x="172657" y="1888"/>
                  <a:pt x="153293" y="-4912"/>
                  <a:pt x="138195" y="3848"/>
                </a:cubicBezTo>
                <a:cubicBezTo>
                  <a:pt x="125055" y="11570"/>
                  <a:pt x="113529" y="25517"/>
                  <a:pt x="105922" y="36582"/>
                </a:cubicBezTo>
                <a:cubicBezTo>
                  <a:pt x="89325" y="60671"/>
                  <a:pt x="66388" y="80842"/>
                  <a:pt x="35269" y="78075"/>
                </a:cubicBezTo>
                <a:cubicBezTo>
                  <a:pt x="17634" y="76462"/>
                  <a:pt x="6108" y="67356"/>
                  <a:pt x="0" y="54101"/>
                </a:cubicBezTo>
                <a:cubicBezTo>
                  <a:pt x="1614" y="104239"/>
                  <a:pt x="43222" y="144350"/>
                  <a:pt x="93935" y="143543"/>
                </a:cubicBezTo>
                <a:cubicBezTo>
                  <a:pt x="144764" y="142736"/>
                  <a:pt x="185104" y="101473"/>
                  <a:pt x="184874" y="50643"/>
                </a:cubicBezTo>
                <a:cubicBezTo>
                  <a:pt x="184874" y="39233"/>
                  <a:pt x="182684" y="28283"/>
                  <a:pt x="178880" y="18140"/>
                </a:cubicBezTo>
                <a:close/>
              </a:path>
            </a:pathLst>
          </a:custGeom>
          <a:solidFill>
            <a:srgbClr val="E0E1E3"/>
          </a:solidFill>
          <a:ln w="11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/>
          </a:p>
        </p:txBody>
      </p:sp>
      <p:grpSp>
        <p:nvGrpSpPr>
          <p:cNvPr id="60" name="Graphic 4">
            <a:extLst>
              <a:ext uri="{FF2B5EF4-FFF2-40B4-BE49-F238E27FC236}">
                <a16:creationId xmlns:a16="http://schemas.microsoft.com/office/drawing/2014/main" id="{F39B3A17-5640-7E29-533E-46C37F562250}"/>
              </a:ext>
            </a:extLst>
          </p:cNvPr>
          <p:cNvGrpSpPr/>
          <p:nvPr/>
        </p:nvGrpSpPr>
        <p:grpSpPr>
          <a:xfrm>
            <a:off x="5431449" y="3158050"/>
            <a:ext cx="738336" cy="506995"/>
            <a:chOff x="8038331" y="621945"/>
            <a:chExt cx="170582" cy="117134"/>
          </a:xfrm>
          <a:solidFill>
            <a:schemeClr val="accent6">
              <a:lumMod val="40000"/>
              <a:lumOff val="60000"/>
            </a:schemeClr>
          </a:solidFill>
        </p:grpSpPr>
        <p:sp>
          <p:nvSpPr>
            <p:cNvPr id="63" name="Freeform 91">
              <a:extLst>
                <a:ext uri="{FF2B5EF4-FFF2-40B4-BE49-F238E27FC236}">
                  <a16:creationId xmlns:a16="http://schemas.microsoft.com/office/drawing/2014/main" id="{0B460AEF-2AC0-9752-B0BD-463181253870}"/>
                </a:ext>
              </a:extLst>
            </p:cNvPr>
            <p:cNvSpPr/>
            <p:nvPr/>
          </p:nvSpPr>
          <p:spPr>
            <a:xfrm>
              <a:off x="8038331" y="719271"/>
              <a:ext cx="1152" cy="598"/>
            </a:xfrm>
            <a:custGeom>
              <a:avLst/>
              <a:gdLst>
                <a:gd name="connsiteX0" fmla="*/ 0 w 1152"/>
                <a:gd name="connsiteY0" fmla="*/ 299 h 598"/>
                <a:gd name="connsiteX1" fmla="*/ 0 w 1152"/>
                <a:gd name="connsiteY1" fmla="*/ 299 h 598"/>
                <a:gd name="connsiteX2" fmla="*/ 0 w 1152"/>
                <a:gd name="connsiteY2" fmla="*/ 299 h 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2" h="598">
                  <a:moveTo>
                    <a:pt x="0" y="299"/>
                  </a:moveTo>
                  <a:cubicBezTo>
                    <a:pt x="0" y="-738"/>
                    <a:pt x="0" y="1337"/>
                    <a:pt x="0" y="299"/>
                  </a:cubicBezTo>
                  <a:lnTo>
                    <a:pt x="0" y="299"/>
                  </a:ln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66" name="Freeform 92">
              <a:extLst>
                <a:ext uri="{FF2B5EF4-FFF2-40B4-BE49-F238E27FC236}">
                  <a16:creationId xmlns:a16="http://schemas.microsoft.com/office/drawing/2014/main" id="{DF89750C-2E1D-CAC2-B719-D879550F2979}"/>
                </a:ext>
              </a:extLst>
            </p:cNvPr>
            <p:cNvSpPr/>
            <p:nvPr/>
          </p:nvSpPr>
          <p:spPr>
            <a:xfrm>
              <a:off x="8039778" y="621945"/>
              <a:ext cx="169134" cy="117134"/>
            </a:xfrm>
            <a:custGeom>
              <a:avLst/>
              <a:gdLst>
                <a:gd name="connsiteX0" fmla="*/ 90989 w 169134"/>
                <a:gd name="connsiteY0" fmla="*/ 115 h 117134"/>
                <a:gd name="connsiteX1" fmla="*/ 972 w 169134"/>
                <a:gd name="connsiteY1" fmla="*/ 72614 h 117134"/>
                <a:gd name="connsiteX2" fmla="*/ 32323 w 169134"/>
                <a:gd name="connsiteY2" fmla="*/ 116759 h 117134"/>
                <a:gd name="connsiteX3" fmla="*/ 33821 w 169134"/>
                <a:gd name="connsiteY3" fmla="*/ 116874 h 117134"/>
                <a:gd name="connsiteX4" fmla="*/ 104475 w 169134"/>
                <a:gd name="connsiteY4" fmla="*/ 76302 h 117134"/>
                <a:gd name="connsiteX5" fmla="*/ 169135 w 169134"/>
                <a:gd name="connsiteY5" fmla="*/ 42070 h 117134"/>
                <a:gd name="connsiteX6" fmla="*/ 90989 w 169134"/>
                <a:gd name="connsiteY6" fmla="*/ 0 h 117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134" h="117134">
                  <a:moveTo>
                    <a:pt x="90989" y="115"/>
                  </a:moveTo>
                  <a:cubicBezTo>
                    <a:pt x="47191" y="115"/>
                    <a:pt x="10655" y="32042"/>
                    <a:pt x="972" y="72614"/>
                  </a:cubicBezTo>
                  <a:cubicBezTo>
                    <a:pt x="-3983" y="93476"/>
                    <a:pt x="10539" y="114338"/>
                    <a:pt x="32323" y="116759"/>
                  </a:cubicBezTo>
                  <a:cubicBezTo>
                    <a:pt x="32784" y="116759"/>
                    <a:pt x="33245" y="116759"/>
                    <a:pt x="33821" y="116874"/>
                  </a:cubicBezTo>
                  <a:cubicBezTo>
                    <a:pt x="64941" y="119640"/>
                    <a:pt x="87762" y="99931"/>
                    <a:pt x="104475" y="76302"/>
                  </a:cubicBezTo>
                  <a:cubicBezTo>
                    <a:pt x="118075" y="57054"/>
                    <a:pt x="144123" y="28815"/>
                    <a:pt x="169135" y="42070"/>
                  </a:cubicBezTo>
                  <a:cubicBezTo>
                    <a:pt x="152768" y="16828"/>
                    <a:pt x="123838" y="0"/>
                    <a:pt x="90989" y="0"/>
                  </a:cubicBez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69" name="Freeform 90">
            <a:extLst>
              <a:ext uri="{FF2B5EF4-FFF2-40B4-BE49-F238E27FC236}">
                <a16:creationId xmlns:a16="http://schemas.microsoft.com/office/drawing/2014/main" id="{55DB8E9A-17EF-B623-4630-6181070BCE6D}"/>
              </a:ext>
            </a:extLst>
          </p:cNvPr>
          <p:cNvSpPr/>
          <p:nvPr/>
        </p:nvSpPr>
        <p:spPr>
          <a:xfrm>
            <a:off x="5431449" y="3345938"/>
            <a:ext cx="800201" cy="621354"/>
          </a:xfrm>
          <a:custGeom>
            <a:avLst/>
            <a:gdLst>
              <a:gd name="connsiteX0" fmla="*/ 178880 w 184875"/>
              <a:gd name="connsiteY0" fmla="*/ 18140 h 143555"/>
              <a:gd name="connsiteX1" fmla="*/ 138195 w 184875"/>
              <a:gd name="connsiteY1" fmla="*/ 3848 h 143555"/>
              <a:gd name="connsiteX2" fmla="*/ 105922 w 184875"/>
              <a:gd name="connsiteY2" fmla="*/ 36582 h 143555"/>
              <a:gd name="connsiteX3" fmla="*/ 35269 w 184875"/>
              <a:gd name="connsiteY3" fmla="*/ 78075 h 143555"/>
              <a:gd name="connsiteX4" fmla="*/ 0 w 184875"/>
              <a:gd name="connsiteY4" fmla="*/ 54101 h 143555"/>
              <a:gd name="connsiteX5" fmla="*/ 93935 w 184875"/>
              <a:gd name="connsiteY5" fmla="*/ 143543 h 143555"/>
              <a:gd name="connsiteX6" fmla="*/ 184874 w 184875"/>
              <a:gd name="connsiteY6" fmla="*/ 50643 h 143555"/>
              <a:gd name="connsiteX7" fmla="*/ 178880 w 184875"/>
              <a:gd name="connsiteY7" fmla="*/ 18140 h 1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4875" h="143555">
                <a:moveTo>
                  <a:pt x="178880" y="18140"/>
                </a:moveTo>
                <a:cubicBezTo>
                  <a:pt x="172657" y="1888"/>
                  <a:pt x="153293" y="-4912"/>
                  <a:pt x="138195" y="3848"/>
                </a:cubicBezTo>
                <a:cubicBezTo>
                  <a:pt x="125055" y="11570"/>
                  <a:pt x="113529" y="25517"/>
                  <a:pt x="105922" y="36582"/>
                </a:cubicBezTo>
                <a:cubicBezTo>
                  <a:pt x="89325" y="60671"/>
                  <a:pt x="66388" y="80842"/>
                  <a:pt x="35269" y="78075"/>
                </a:cubicBezTo>
                <a:cubicBezTo>
                  <a:pt x="17634" y="76462"/>
                  <a:pt x="6108" y="67356"/>
                  <a:pt x="0" y="54101"/>
                </a:cubicBezTo>
                <a:cubicBezTo>
                  <a:pt x="1614" y="104239"/>
                  <a:pt x="43222" y="144350"/>
                  <a:pt x="93935" y="143543"/>
                </a:cubicBezTo>
                <a:cubicBezTo>
                  <a:pt x="144764" y="142736"/>
                  <a:pt x="185104" y="101473"/>
                  <a:pt x="184874" y="50643"/>
                </a:cubicBezTo>
                <a:cubicBezTo>
                  <a:pt x="184874" y="39233"/>
                  <a:pt x="182684" y="28283"/>
                  <a:pt x="178880" y="18140"/>
                </a:cubicBezTo>
                <a:close/>
              </a:path>
            </a:pathLst>
          </a:custGeom>
          <a:solidFill>
            <a:srgbClr val="E0E1E3"/>
          </a:solidFill>
          <a:ln w="1152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350"/>
          </a:p>
        </p:txBody>
      </p:sp>
      <p:grpSp>
        <p:nvGrpSpPr>
          <p:cNvPr id="72" name="Graphic 4">
            <a:extLst>
              <a:ext uri="{FF2B5EF4-FFF2-40B4-BE49-F238E27FC236}">
                <a16:creationId xmlns:a16="http://schemas.microsoft.com/office/drawing/2014/main" id="{B922EE11-6F91-73CA-7689-5E7BF589F9F8}"/>
              </a:ext>
            </a:extLst>
          </p:cNvPr>
          <p:cNvGrpSpPr/>
          <p:nvPr/>
        </p:nvGrpSpPr>
        <p:grpSpPr>
          <a:xfrm>
            <a:off x="2927590" y="2126854"/>
            <a:ext cx="738336" cy="506991"/>
            <a:chOff x="7459850" y="383702"/>
            <a:chExt cx="170582" cy="117133"/>
          </a:xfrm>
          <a:solidFill>
            <a:srgbClr val="FCD8ED"/>
          </a:solidFill>
          <a:effectLst>
            <a:glow rad="101600">
              <a:srgbClr val="FFFF00">
                <a:alpha val="60000"/>
              </a:srgbClr>
            </a:glow>
          </a:effectLst>
        </p:grpSpPr>
        <p:sp>
          <p:nvSpPr>
            <p:cNvPr id="75" name="Freeform 87">
              <a:extLst>
                <a:ext uri="{FF2B5EF4-FFF2-40B4-BE49-F238E27FC236}">
                  <a16:creationId xmlns:a16="http://schemas.microsoft.com/office/drawing/2014/main" id="{8665DA97-621B-8E30-5DBB-FA04333DA159}"/>
                </a:ext>
              </a:extLst>
            </p:cNvPr>
            <p:cNvSpPr/>
            <p:nvPr/>
          </p:nvSpPr>
          <p:spPr>
            <a:xfrm>
              <a:off x="7459850" y="481028"/>
              <a:ext cx="1152" cy="598"/>
            </a:xfrm>
            <a:custGeom>
              <a:avLst/>
              <a:gdLst>
                <a:gd name="connsiteX0" fmla="*/ 0 w 1152"/>
                <a:gd name="connsiteY0" fmla="*/ 299 h 598"/>
                <a:gd name="connsiteX1" fmla="*/ 0 w 1152"/>
                <a:gd name="connsiteY1" fmla="*/ 299 h 598"/>
                <a:gd name="connsiteX2" fmla="*/ 0 w 1152"/>
                <a:gd name="connsiteY2" fmla="*/ 299 h 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2" h="598">
                  <a:moveTo>
                    <a:pt x="0" y="299"/>
                  </a:moveTo>
                  <a:cubicBezTo>
                    <a:pt x="0" y="-738"/>
                    <a:pt x="0" y="1337"/>
                    <a:pt x="0" y="299"/>
                  </a:cubicBezTo>
                  <a:lnTo>
                    <a:pt x="0" y="299"/>
                  </a:ln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76" name="Freeform 88">
              <a:extLst>
                <a:ext uri="{FF2B5EF4-FFF2-40B4-BE49-F238E27FC236}">
                  <a16:creationId xmlns:a16="http://schemas.microsoft.com/office/drawing/2014/main" id="{C2942DCB-CFF5-42CD-7BFB-6702EC0A9DD0}"/>
                </a:ext>
              </a:extLst>
            </p:cNvPr>
            <p:cNvSpPr/>
            <p:nvPr/>
          </p:nvSpPr>
          <p:spPr>
            <a:xfrm>
              <a:off x="7461297" y="383702"/>
              <a:ext cx="169134" cy="117133"/>
            </a:xfrm>
            <a:custGeom>
              <a:avLst/>
              <a:gdLst>
                <a:gd name="connsiteX0" fmla="*/ 90989 w 169134"/>
                <a:gd name="connsiteY0" fmla="*/ 115 h 117133"/>
                <a:gd name="connsiteX1" fmla="*/ 972 w 169134"/>
                <a:gd name="connsiteY1" fmla="*/ 72614 h 117133"/>
                <a:gd name="connsiteX2" fmla="*/ 32323 w 169134"/>
                <a:gd name="connsiteY2" fmla="*/ 116759 h 117133"/>
                <a:gd name="connsiteX3" fmla="*/ 33821 w 169134"/>
                <a:gd name="connsiteY3" fmla="*/ 116874 h 117133"/>
                <a:gd name="connsiteX4" fmla="*/ 104474 w 169134"/>
                <a:gd name="connsiteY4" fmla="*/ 76302 h 117133"/>
                <a:gd name="connsiteX5" fmla="*/ 169134 w 169134"/>
                <a:gd name="connsiteY5" fmla="*/ 42070 h 117133"/>
                <a:gd name="connsiteX6" fmla="*/ 90989 w 169134"/>
                <a:gd name="connsiteY6" fmla="*/ 0 h 11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134" h="117133">
                  <a:moveTo>
                    <a:pt x="90989" y="115"/>
                  </a:moveTo>
                  <a:cubicBezTo>
                    <a:pt x="47191" y="115"/>
                    <a:pt x="10654" y="32042"/>
                    <a:pt x="972" y="72614"/>
                  </a:cubicBezTo>
                  <a:cubicBezTo>
                    <a:pt x="-3983" y="93476"/>
                    <a:pt x="10539" y="114338"/>
                    <a:pt x="32323" y="116759"/>
                  </a:cubicBezTo>
                  <a:cubicBezTo>
                    <a:pt x="32784" y="116759"/>
                    <a:pt x="33245" y="116759"/>
                    <a:pt x="33821" y="116874"/>
                  </a:cubicBezTo>
                  <a:cubicBezTo>
                    <a:pt x="64941" y="119640"/>
                    <a:pt x="87762" y="99931"/>
                    <a:pt x="104474" y="76302"/>
                  </a:cubicBezTo>
                  <a:cubicBezTo>
                    <a:pt x="118075" y="57054"/>
                    <a:pt x="144123" y="28815"/>
                    <a:pt x="169134" y="42070"/>
                  </a:cubicBezTo>
                  <a:cubicBezTo>
                    <a:pt x="152768" y="16828"/>
                    <a:pt x="123838" y="0"/>
                    <a:pt x="90989" y="0"/>
                  </a:cubicBez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77" name="Freeform 86">
            <a:extLst>
              <a:ext uri="{FF2B5EF4-FFF2-40B4-BE49-F238E27FC236}">
                <a16:creationId xmlns:a16="http://schemas.microsoft.com/office/drawing/2014/main" id="{E48D50FC-E7DF-BB04-67B1-71B2EA08391F}"/>
              </a:ext>
            </a:extLst>
          </p:cNvPr>
          <p:cNvSpPr/>
          <p:nvPr/>
        </p:nvSpPr>
        <p:spPr>
          <a:xfrm>
            <a:off x="2927590" y="2315240"/>
            <a:ext cx="800201" cy="621354"/>
          </a:xfrm>
          <a:custGeom>
            <a:avLst/>
            <a:gdLst>
              <a:gd name="connsiteX0" fmla="*/ 178881 w 184875"/>
              <a:gd name="connsiteY0" fmla="*/ 18140 h 143555"/>
              <a:gd name="connsiteX1" fmla="*/ 138195 w 184875"/>
              <a:gd name="connsiteY1" fmla="*/ 3848 h 143555"/>
              <a:gd name="connsiteX2" fmla="*/ 105922 w 184875"/>
              <a:gd name="connsiteY2" fmla="*/ 36582 h 143555"/>
              <a:gd name="connsiteX3" fmla="*/ 35269 w 184875"/>
              <a:gd name="connsiteY3" fmla="*/ 78075 h 143555"/>
              <a:gd name="connsiteX4" fmla="*/ 0 w 184875"/>
              <a:gd name="connsiteY4" fmla="*/ 54101 h 143555"/>
              <a:gd name="connsiteX5" fmla="*/ 93935 w 184875"/>
              <a:gd name="connsiteY5" fmla="*/ 143543 h 143555"/>
              <a:gd name="connsiteX6" fmla="*/ 184874 w 184875"/>
              <a:gd name="connsiteY6" fmla="*/ 50643 h 143555"/>
              <a:gd name="connsiteX7" fmla="*/ 178881 w 184875"/>
              <a:gd name="connsiteY7" fmla="*/ 18140 h 1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4875" h="143555">
                <a:moveTo>
                  <a:pt x="178881" y="18140"/>
                </a:moveTo>
                <a:cubicBezTo>
                  <a:pt x="172657" y="1888"/>
                  <a:pt x="153293" y="-4912"/>
                  <a:pt x="138195" y="3848"/>
                </a:cubicBezTo>
                <a:cubicBezTo>
                  <a:pt x="125055" y="11570"/>
                  <a:pt x="113529" y="25517"/>
                  <a:pt x="105922" y="36582"/>
                </a:cubicBezTo>
                <a:cubicBezTo>
                  <a:pt x="89325" y="60671"/>
                  <a:pt x="66389" y="80842"/>
                  <a:pt x="35269" y="78075"/>
                </a:cubicBezTo>
                <a:cubicBezTo>
                  <a:pt x="17635" y="76462"/>
                  <a:pt x="6109" y="67356"/>
                  <a:pt x="0" y="54101"/>
                </a:cubicBezTo>
                <a:cubicBezTo>
                  <a:pt x="1614" y="104239"/>
                  <a:pt x="43222" y="144350"/>
                  <a:pt x="93935" y="143543"/>
                </a:cubicBezTo>
                <a:cubicBezTo>
                  <a:pt x="144764" y="142736"/>
                  <a:pt x="185105" y="101473"/>
                  <a:pt x="184874" y="50643"/>
                </a:cubicBezTo>
                <a:cubicBezTo>
                  <a:pt x="184874" y="39233"/>
                  <a:pt x="182684" y="28283"/>
                  <a:pt x="178881" y="18140"/>
                </a:cubicBezTo>
                <a:close/>
              </a:path>
            </a:pathLst>
          </a:custGeom>
          <a:solidFill>
            <a:srgbClr val="E0E1E3"/>
          </a:solidFill>
          <a:ln w="1152" cap="flat">
            <a:noFill/>
            <a:prstDash val="solid"/>
            <a:miter/>
          </a:ln>
          <a:effectLst>
            <a:glow rad="101600">
              <a:srgbClr val="FFFF00">
                <a:alpha val="60000"/>
              </a:srgbClr>
            </a:glow>
          </a:effectLst>
        </p:spPr>
        <p:txBody>
          <a:bodyPr rtlCol="0" anchor="ctr"/>
          <a:lstStyle/>
          <a:p>
            <a:endParaRPr lang="en-US" sz="1350"/>
          </a:p>
        </p:txBody>
      </p:sp>
      <p:grpSp>
        <p:nvGrpSpPr>
          <p:cNvPr id="78" name="Graphic 4">
            <a:extLst>
              <a:ext uri="{FF2B5EF4-FFF2-40B4-BE49-F238E27FC236}">
                <a16:creationId xmlns:a16="http://schemas.microsoft.com/office/drawing/2014/main" id="{C2BE660A-A1CD-E162-6C28-FBF6AADB34EA}"/>
              </a:ext>
            </a:extLst>
          </p:cNvPr>
          <p:cNvGrpSpPr/>
          <p:nvPr/>
        </p:nvGrpSpPr>
        <p:grpSpPr>
          <a:xfrm>
            <a:off x="2927590" y="3158050"/>
            <a:ext cx="738336" cy="506995"/>
            <a:chOff x="7459850" y="621945"/>
            <a:chExt cx="170582" cy="117134"/>
          </a:xfrm>
          <a:solidFill>
            <a:schemeClr val="accent3">
              <a:lumMod val="40000"/>
              <a:lumOff val="60000"/>
            </a:schemeClr>
          </a:solidFill>
          <a:effectLst>
            <a:glow rad="101600">
              <a:srgbClr val="FFFF00">
                <a:alpha val="60000"/>
              </a:srgbClr>
            </a:glow>
          </a:effectLst>
        </p:grpSpPr>
        <p:sp>
          <p:nvSpPr>
            <p:cNvPr id="79" name="Freeform 83">
              <a:extLst>
                <a:ext uri="{FF2B5EF4-FFF2-40B4-BE49-F238E27FC236}">
                  <a16:creationId xmlns:a16="http://schemas.microsoft.com/office/drawing/2014/main" id="{9ABB1A75-41A3-39B8-1F95-928491D0BF40}"/>
                </a:ext>
              </a:extLst>
            </p:cNvPr>
            <p:cNvSpPr/>
            <p:nvPr/>
          </p:nvSpPr>
          <p:spPr>
            <a:xfrm>
              <a:off x="7459850" y="719271"/>
              <a:ext cx="1152" cy="598"/>
            </a:xfrm>
            <a:custGeom>
              <a:avLst/>
              <a:gdLst>
                <a:gd name="connsiteX0" fmla="*/ 0 w 1152"/>
                <a:gd name="connsiteY0" fmla="*/ 299 h 598"/>
                <a:gd name="connsiteX1" fmla="*/ 0 w 1152"/>
                <a:gd name="connsiteY1" fmla="*/ 299 h 598"/>
                <a:gd name="connsiteX2" fmla="*/ 0 w 1152"/>
                <a:gd name="connsiteY2" fmla="*/ 299 h 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2" h="598">
                  <a:moveTo>
                    <a:pt x="0" y="299"/>
                  </a:moveTo>
                  <a:cubicBezTo>
                    <a:pt x="0" y="-738"/>
                    <a:pt x="0" y="1337"/>
                    <a:pt x="0" y="299"/>
                  </a:cubicBezTo>
                  <a:lnTo>
                    <a:pt x="0" y="299"/>
                  </a:ln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80" name="Freeform 84">
              <a:extLst>
                <a:ext uri="{FF2B5EF4-FFF2-40B4-BE49-F238E27FC236}">
                  <a16:creationId xmlns:a16="http://schemas.microsoft.com/office/drawing/2014/main" id="{6F6746CA-34C0-406A-F0A6-6B44EA094CC6}"/>
                </a:ext>
              </a:extLst>
            </p:cNvPr>
            <p:cNvSpPr/>
            <p:nvPr/>
          </p:nvSpPr>
          <p:spPr>
            <a:xfrm>
              <a:off x="7461297" y="621945"/>
              <a:ext cx="169134" cy="117134"/>
            </a:xfrm>
            <a:custGeom>
              <a:avLst/>
              <a:gdLst>
                <a:gd name="connsiteX0" fmla="*/ 90989 w 169134"/>
                <a:gd name="connsiteY0" fmla="*/ 115 h 117134"/>
                <a:gd name="connsiteX1" fmla="*/ 972 w 169134"/>
                <a:gd name="connsiteY1" fmla="*/ 72614 h 117134"/>
                <a:gd name="connsiteX2" fmla="*/ 32323 w 169134"/>
                <a:gd name="connsiteY2" fmla="*/ 116759 h 117134"/>
                <a:gd name="connsiteX3" fmla="*/ 33821 w 169134"/>
                <a:gd name="connsiteY3" fmla="*/ 116874 h 117134"/>
                <a:gd name="connsiteX4" fmla="*/ 104474 w 169134"/>
                <a:gd name="connsiteY4" fmla="*/ 76302 h 117134"/>
                <a:gd name="connsiteX5" fmla="*/ 169134 w 169134"/>
                <a:gd name="connsiteY5" fmla="*/ 42070 h 117134"/>
                <a:gd name="connsiteX6" fmla="*/ 90989 w 169134"/>
                <a:gd name="connsiteY6" fmla="*/ 0 h 117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134" h="117134">
                  <a:moveTo>
                    <a:pt x="90989" y="115"/>
                  </a:moveTo>
                  <a:cubicBezTo>
                    <a:pt x="47191" y="115"/>
                    <a:pt x="10654" y="32042"/>
                    <a:pt x="972" y="72614"/>
                  </a:cubicBezTo>
                  <a:cubicBezTo>
                    <a:pt x="-3983" y="93476"/>
                    <a:pt x="10539" y="114338"/>
                    <a:pt x="32323" y="116759"/>
                  </a:cubicBezTo>
                  <a:cubicBezTo>
                    <a:pt x="32784" y="116759"/>
                    <a:pt x="33245" y="116759"/>
                    <a:pt x="33821" y="116874"/>
                  </a:cubicBezTo>
                  <a:cubicBezTo>
                    <a:pt x="64941" y="119640"/>
                    <a:pt x="87762" y="99931"/>
                    <a:pt x="104474" y="76302"/>
                  </a:cubicBezTo>
                  <a:cubicBezTo>
                    <a:pt x="118075" y="57054"/>
                    <a:pt x="144123" y="28815"/>
                    <a:pt x="169134" y="42070"/>
                  </a:cubicBezTo>
                  <a:cubicBezTo>
                    <a:pt x="152768" y="16828"/>
                    <a:pt x="123838" y="0"/>
                    <a:pt x="90989" y="0"/>
                  </a:cubicBez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81" name="Freeform 82">
            <a:extLst>
              <a:ext uri="{FF2B5EF4-FFF2-40B4-BE49-F238E27FC236}">
                <a16:creationId xmlns:a16="http://schemas.microsoft.com/office/drawing/2014/main" id="{BDA3C2CF-AFB0-6775-73EF-1F558D9C4CD9}"/>
              </a:ext>
            </a:extLst>
          </p:cNvPr>
          <p:cNvSpPr/>
          <p:nvPr/>
        </p:nvSpPr>
        <p:spPr>
          <a:xfrm>
            <a:off x="2927590" y="3345938"/>
            <a:ext cx="800201" cy="621354"/>
          </a:xfrm>
          <a:custGeom>
            <a:avLst/>
            <a:gdLst>
              <a:gd name="connsiteX0" fmla="*/ 178881 w 184875"/>
              <a:gd name="connsiteY0" fmla="*/ 18140 h 143555"/>
              <a:gd name="connsiteX1" fmla="*/ 138195 w 184875"/>
              <a:gd name="connsiteY1" fmla="*/ 3848 h 143555"/>
              <a:gd name="connsiteX2" fmla="*/ 105922 w 184875"/>
              <a:gd name="connsiteY2" fmla="*/ 36582 h 143555"/>
              <a:gd name="connsiteX3" fmla="*/ 35269 w 184875"/>
              <a:gd name="connsiteY3" fmla="*/ 78075 h 143555"/>
              <a:gd name="connsiteX4" fmla="*/ 0 w 184875"/>
              <a:gd name="connsiteY4" fmla="*/ 54101 h 143555"/>
              <a:gd name="connsiteX5" fmla="*/ 93935 w 184875"/>
              <a:gd name="connsiteY5" fmla="*/ 143543 h 143555"/>
              <a:gd name="connsiteX6" fmla="*/ 184874 w 184875"/>
              <a:gd name="connsiteY6" fmla="*/ 50643 h 143555"/>
              <a:gd name="connsiteX7" fmla="*/ 178881 w 184875"/>
              <a:gd name="connsiteY7" fmla="*/ 18140 h 1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4875" h="143555">
                <a:moveTo>
                  <a:pt x="178881" y="18140"/>
                </a:moveTo>
                <a:cubicBezTo>
                  <a:pt x="172657" y="1888"/>
                  <a:pt x="153293" y="-4912"/>
                  <a:pt x="138195" y="3848"/>
                </a:cubicBezTo>
                <a:cubicBezTo>
                  <a:pt x="125055" y="11570"/>
                  <a:pt x="113529" y="25517"/>
                  <a:pt x="105922" y="36582"/>
                </a:cubicBezTo>
                <a:cubicBezTo>
                  <a:pt x="89325" y="60671"/>
                  <a:pt x="66389" y="80842"/>
                  <a:pt x="35269" y="78075"/>
                </a:cubicBezTo>
                <a:cubicBezTo>
                  <a:pt x="17635" y="76462"/>
                  <a:pt x="6109" y="67356"/>
                  <a:pt x="0" y="54101"/>
                </a:cubicBezTo>
                <a:cubicBezTo>
                  <a:pt x="1614" y="104239"/>
                  <a:pt x="43222" y="144350"/>
                  <a:pt x="93935" y="143543"/>
                </a:cubicBezTo>
                <a:cubicBezTo>
                  <a:pt x="144764" y="142736"/>
                  <a:pt x="185105" y="101473"/>
                  <a:pt x="184874" y="50643"/>
                </a:cubicBezTo>
                <a:cubicBezTo>
                  <a:pt x="184874" y="39233"/>
                  <a:pt x="182684" y="28283"/>
                  <a:pt x="178881" y="18140"/>
                </a:cubicBezTo>
                <a:close/>
              </a:path>
            </a:pathLst>
          </a:custGeom>
          <a:solidFill>
            <a:srgbClr val="E0E1E3"/>
          </a:solidFill>
          <a:ln w="1152" cap="flat">
            <a:noFill/>
            <a:prstDash val="solid"/>
            <a:miter/>
          </a:ln>
          <a:effectLst>
            <a:glow rad="101600">
              <a:srgbClr val="FFFF00">
                <a:alpha val="60000"/>
              </a:srgbClr>
            </a:glow>
          </a:effectLst>
        </p:spPr>
        <p:txBody>
          <a:bodyPr rtlCol="0" anchor="ctr"/>
          <a:lstStyle/>
          <a:p>
            <a:endParaRPr lang="en-US" sz="135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ECA4F9C-CAC6-99D0-C254-98158506509F}"/>
              </a:ext>
            </a:extLst>
          </p:cNvPr>
          <p:cNvSpPr txBox="1"/>
          <p:nvPr/>
        </p:nvSpPr>
        <p:spPr>
          <a:xfrm>
            <a:off x="4671096" y="1495203"/>
            <a:ext cx="515847" cy="3693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b="1" noProof="1">
                <a:solidFill>
                  <a:srgbClr val="7030A0"/>
                </a:solidFill>
              </a:rPr>
              <a:t>08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84395824-E28C-A693-504F-377F595B79F7}"/>
              </a:ext>
            </a:extLst>
          </p:cNvPr>
          <p:cNvSpPr txBox="1"/>
          <p:nvPr/>
        </p:nvSpPr>
        <p:spPr>
          <a:xfrm>
            <a:off x="5411760" y="2215293"/>
            <a:ext cx="515847" cy="3693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b="1" noProof="1">
                <a:solidFill>
                  <a:srgbClr val="7030A0"/>
                </a:solidFill>
              </a:rPr>
              <a:t>07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A61D3695-EE01-6053-DDB7-1C2D33FB746F}"/>
              </a:ext>
            </a:extLst>
          </p:cNvPr>
          <p:cNvSpPr txBox="1"/>
          <p:nvPr/>
        </p:nvSpPr>
        <p:spPr>
          <a:xfrm>
            <a:off x="5425476" y="3264567"/>
            <a:ext cx="515847" cy="3693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b="1" noProof="1">
                <a:solidFill>
                  <a:srgbClr val="7030A0"/>
                </a:solidFill>
              </a:rPr>
              <a:t>06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66FD0FA-4ADA-76C4-9D4E-ACB565E7C5E3}"/>
              </a:ext>
            </a:extLst>
          </p:cNvPr>
          <p:cNvSpPr txBox="1"/>
          <p:nvPr/>
        </p:nvSpPr>
        <p:spPr>
          <a:xfrm>
            <a:off x="4691670" y="3998373"/>
            <a:ext cx="515847" cy="3693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b="1" noProof="1">
                <a:solidFill>
                  <a:srgbClr val="7030A0"/>
                </a:solidFill>
              </a:rPr>
              <a:t>05</a:t>
            </a:r>
          </a:p>
        </p:txBody>
      </p:sp>
      <p:sp>
        <p:nvSpPr>
          <p:cNvPr id="86" name="TextBox 128">
            <a:extLst>
              <a:ext uri="{FF2B5EF4-FFF2-40B4-BE49-F238E27FC236}">
                <a16:creationId xmlns:a16="http://schemas.microsoft.com/office/drawing/2014/main" id="{CED449EE-1080-A1B6-9DB9-1224622C409E}"/>
              </a:ext>
            </a:extLst>
          </p:cNvPr>
          <p:cNvSpPr txBox="1"/>
          <p:nvPr/>
        </p:nvSpPr>
        <p:spPr>
          <a:xfrm>
            <a:off x="3649254" y="3998373"/>
            <a:ext cx="515847" cy="3693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b="1" noProof="1">
                <a:solidFill>
                  <a:srgbClr val="7030A0"/>
                </a:solidFill>
              </a:rPr>
              <a:t>04</a:t>
            </a:r>
          </a:p>
        </p:txBody>
      </p:sp>
      <p:sp>
        <p:nvSpPr>
          <p:cNvPr id="87" name="TextBox 129">
            <a:extLst>
              <a:ext uri="{FF2B5EF4-FFF2-40B4-BE49-F238E27FC236}">
                <a16:creationId xmlns:a16="http://schemas.microsoft.com/office/drawing/2014/main" id="{3C60D5C1-DA89-994A-887C-0CB2D653EABE}"/>
              </a:ext>
            </a:extLst>
          </p:cNvPr>
          <p:cNvSpPr txBox="1"/>
          <p:nvPr/>
        </p:nvSpPr>
        <p:spPr>
          <a:xfrm>
            <a:off x="2915448" y="3257709"/>
            <a:ext cx="515847" cy="3693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b="1" noProof="1">
                <a:solidFill>
                  <a:srgbClr val="7030A0"/>
                </a:solidFill>
              </a:rPr>
              <a:t>03</a:t>
            </a:r>
          </a:p>
        </p:txBody>
      </p:sp>
      <p:sp>
        <p:nvSpPr>
          <p:cNvPr id="88" name="TextBox 130">
            <a:extLst>
              <a:ext uri="{FF2B5EF4-FFF2-40B4-BE49-F238E27FC236}">
                <a16:creationId xmlns:a16="http://schemas.microsoft.com/office/drawing/2014/main" id="{EE9DE5FE-BAEF-3C38-CFA8-4245F47578B9}"/>
              </a:ext>
            </a:extLst>
          </p:cNvPr>
          <p:cNvSpPr txBox="1"/>
          <p:nvPr/>
        </p:nvSpPr>
        <p:spPr>
          <a:xfrm>
            <a:off x="2915448" y="2215293"/>
            <a:ext cx="515847" cy="3693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b="1" noProof="1">
                <a:solidFill>
                  <a:srgbClr val="7030A0"/>
                </a:solidFill>
              </a:rPr>
              <a:t>02</a:t>
            </a:r>
          </a:p>
        </p:txBody>
      </p:sp>
      <p:sp>
        <p:nvSpPr>
          <p:cNvPr id="89" name="TextBox 131">
            <a:extLst>
              <a:ext uri="{FF2B5EF4-FFF2-40B4-BE49-F238E27FC236}">
                <a16:creationId xmlns:a16="http://schemas.microsoft.com/office/drawing/2014/main" id="{06C56210-5981-0D72-2FCB-7577AF58C60E}"/>
              </a:ext>
            </a:extLst>
          </p:cNvPr>
          <p:cNvSpPr txBox="1"/>
          <p:nvPr/>
        </p:nvSpPr>
        <p:spPr>
          <a:xfrm>
            <a:off x="3623250" y="1502061"/>
            <a:ext cx="515847" cy="3693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b="1" noProof="1">
                <a:solidFill>
                  <a:srgbClr val="7030A0"/>
                </a:solidFill>
              </a:rPr>
              <a:t>01</a:t>
            </a:r>
          </a:p>
        </p:txBody>
      </p:sp>
      <p:pic>
        <p:nvPicPr>
          <p:cNvPr id="90" name="Graphic 132" descr="Brainstorm with solid fill">
            <a:extLst>
              <a:ext uri="{FF2B5EF4-FFF2-40B4-BE49-F238E27FC236}">
                <a16:creationId xmlns:a16="http://schemas.microsoft.com/office/drawing/2014/main" id="{0D902704-E8BB-D867-6D79-24BCF14AB09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42894" y="3515635"/>
            <a:ext cx="307288" cy="307288"/>
          </a:xfrm>
          <a:prstGeom prst="rect">
            <a:avLst/>
          </a:prstGeom>
        </p:spPr>
      </p:pic>
      <p:pic>
        <p:nvPicPr>
          <p:cNvPr id="91" name="Graphic 133" descr="Bullseye with solid fill">
            <a:extLst>
              <a:ext uri="{FF2B5EF4-FFF2-40B4-BE49-F238E27FC236}">
                <a16:creationId xmlns:a16="http://schemas.microsoft.com/office/drawing/2014/main" id="{B709F631-302B-B53D-7FAB-77A1FF99985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76387" y="4244209"/>
            <a:ext cx="307288" cy="307288"/>
          </a:xfrm>
          <a:prstGeom prst="rect">
            <a:avLst/>
          </a:prstGeom>
        </p:spPr>
      </p:pic>
      <p:pic>
        <p:nvPicPr>
          <p:cNvPr id="92" name="Graphic 134" descr="Hourglass 30% with solid fill">
            <a:extLst>
              <a:ext uri="{FF2B5EF4-FFF2-40B4-BE49-F238E27FC236}">
                <a16:creationId xmlns:a16="http://schemas.microsoft.com/office/drawing/2014/main" id="{48410E68-CFEB-49A7-B71E-EA6F066F6B8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19646" y="2471777"/>
            <a:ext cx="307288" cy="307288"/>
          </a:xfrm>
          <a:prstGeom prst="rect">
            <a:avLst/>
          </a:prstGeom>
        </p:spPr>
      </p:pic>
      <p:pic>
        <p:nvPicPr>
          <p:cNvPr id="93" name="Graphic 135" descr="Lightbulb with solid fill">
            <a:extLst>
              <a:ext uri="{FF2B5EF4-FFF2-40B4-BE49-F238E27FC236}">
                <a16:creationId xmlns:a16="http://schemas.microsoft.com/office/drawing/2014/main" id="{C4C8759B-11CE-B4BB-DF6D-BBD5FC3019A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82630" y="1739233"/>
            <a:ext cx="307288" cy="307288"/>
          </a:xfrm>
          <a:prstGeom prst="rect">
            <a:avLst/>
          </a:prstGeom>
        </p:spPr>
      </p:pic>
      <p:pic>
        <p:nvPicPr>
          <p:cNvPr id="94" name="Graphic 136" descr="Research with solid fill">
            <a:extLst>
              <a:ext uri="{FF2B5EF4-FFF2-40B4-BE49-F238E27FC236}">
                <a16:creationId xmlns:a16="http://schemas.microsoft.com/office/drawing/2014/main" id="{90BA24C5-6E5D-EE74-6C47-74AB96194E4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58117" y="1735842"/>
            <a:ext cx="307288" cy="307288"/>
          </a:xfrm>
          <a:prstGeom prst="rect">
            <a:avLst/>
          </a:prstGeom>
        </p:spPr>
      </p:pic>
      <p:pic>
        <p:nvPicPr>
          <p:cNvPr id="95" name="Graphic 137" descr="Bar graph with upward trend with solid fill">
            <a:extLst>
              <a:ext uri="{FF2B5EF4-FFF2-40B4-BE49-F238E27FC236}">
                <a16:creationId xmlns:a16="http://schemas.microsoft.com/office/drawing/2014/main" id="{A1D79580-5FE4-E3CF-A1D2-8A1EB918696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843696" y="2489313"/>
            <a:ext cx="307288" cy="307288"/>
          </a:xfrm>
          <a:prstGeom prst="rect">
            <a:avLst/>
          </a:prstGeom>
        </p:spPr>
      </p:pic>
      <p:pic>
        <p:nvPicPr>
          <p:cNvPr id="96" name="Graphic 138" descr="Gears with solid fill">
            <a:extLst>
              <a:ext uri="{FF2B5EF4-FFF2-40B4-BE49-F238E27FC236}">
                <a16:creationId xmlns:a16="http://schemas.microsoft.com/office/drawing/2014/main" id="{E042AF40-FDF1-2F9A-5D91-4C2EE2F49D5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036392" y="4250247"/>
            <a:ext cx="307288" cy="307288"/>
          </a:xfrm>
          <a:prstGeom prst="rect">
            <a:avLst/>
          </a:prstGeom>
        </p:spPr>
      </p:pic>
      <p:pic>
        <p:nvPicPr>
          <p:cNvPr id="97" name="Graphic 139" descr="Eye with solid fill">
            <a:extLst>
              <a:ext uri="{FF2B5EF4-FFF2-40B4-BE49-F238E27FC236}">
                <a16:creationId xmlns:a16="http://schemas.microsoft.com/office/drawing/2014/main" id="{21F25730-9896-A4A2-8097-4A15C4918E0F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801653" y="3526309"/>
            <a:ext cx="307288" cy="307288"/>
          </a:xfrm>
          <a:prstGeom prst="rect">
            <a:avLst/>
          </a:prstGeom>
        </p:spPr>
      </p:pic>
      <p:sp>
        <p:nvSpPr>
          <p:cNvPr id="115" name="Rectangle 147">
            <a:extLst>
              <a:ext uri="{FF2B5EF4-FFF2-40B4-BE49-F238E27FC236}">
                <a16:creationId xmlns:a16="http://schemas.microsoft.com/office/drawing/2014/main" id="{0498145B-49FD-1ACE-40E3-84AF5F3B4032}"/>
              </a:ext>
            </a:extLst>
          </p:cNvPr>
          <p:cNvSpPr/>
          <p:nvPr/>
        </p:nvSpPr>
        <p:spPr>
          <a:xfrm>
            <a:off x="2054189" y="1457049"/>
            <a:ext cx="2235067" cy="4826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vert="horz" lIns="54000" tIns="27000" rIns="27000" bIns="27000" rtlCol="0" anchor="ctr"/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EDA CLIENTE</a:t>
            </a:r>
          </a:p>
        </p:txBody>
      </p:sp>
      <p:sp>
        <p:nvSpPr>
          <p:cNvPr id="117" name="Rectangle 147">
            <a:extLst>
              <a:ext uri="{FF2B5EF4-FFF2-40B4-BE49-F238E27FC236}">
                <a16:creationId xmlns:a16="http://schemas.microsoft.com/office/drawing/2014/main" id="{2A7D836F-3F83-1619-59DD-89D6522E05BD}"/>
              </a:ext>
            </a:extLst>
          </p:cNvPr>
          <p:cNvSpPr/>
          <p:nvPr/>
        </p:nvSpPr>
        <p:spPr>
          <a:xfrm>
            <a:off x="816311" y="2295057"/>
            <a:ext cx="2001440" cy="4826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vert="horz" lIns="54000" tIns="27000" rIns="27000" bIns="27000" rtlCol="0" anchor="ctr"/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ORDI COMMERCIALI</a:t>
            </a:r>
          </a:p>
        </p:txBody>
      </p:sp>
      <p:sp>
        <p:nvSpPr>
          <p:cNvPr id="118" name="Rectangle 147">
            <a:extLst>
              <a:ext uri="{FF2B5EF4-FFF2-40B4-BE49-F238E27FC236}">
                <a16:creationId xmlns:a16="http://schemas.microsoft.com/office/drawing/2014/main" id="{248CE652-B512-A0EB-0ECA-02D680B36BEF}"/>
              </a:ext>
            </a:extLst>
          </p:cNvPr>
          <p:cNvSpPr/>
          <p:nvPr/>
        </p:nvSpPr>
        <p:spPr>
          <a:xfrm>
            <a:off x="1084579" y="3358036"/>
            <a:ext cx="2235067" cy="4826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vert="horz" lIns="54000" tIns="27000" rIns="27000" bIns="27000" rtlCol="0" anchor="ctr"/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ESTIONE CONTATTI</a:t>
            </a:r>
          </a:p>
        </p:txBody>
      </p:sp>
      <p:sp>
        <p:nvSpPr>
          <p:cNvPr id="119" name="Rectangle 147">
            <a:extLst>
              <a:ext uri="{FF2B5EF4-FFF2-40B4-BE49-F238E27FC236}">
                <a16:creationId xmlns:a16="http://schemas.microsoft.com/office/drawing/2014/main" id="{0CFEE558-6270-BEFD-1EC0-2879EE7294D0}"/>
              </a:ext>
            </a:extLst>
          </p:cNvPr>
          <p:cNvSpPr/>
          <p:nvPr/>
        </p:nvSpPr>
        <p:spPr>
          <a:xfrm>
            <a:off x="2014002" y="4204178"/>
            <a:ext cx="2235067" cy="4826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vert="horz" lIns="54000" tIns="27000" rIns="27000" bIns="27000" rtlCol="0" anchor="ctr"/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ONE VISIT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7" name="Rectangle 147">
            <a:extLst>
              <a:ext uri="{FF2B5EF4-FFF2-40B4-BE49-F238E27FC236}">
                <a16:creationId xmlns:a16="http://schemas.microsoft.com/office/drawing/2014/main" id="{187F4242-4B2C-95FA-8855-5001F455DF2C}"/>
              </a:ext>
            </a:extLst>
          </p:cNvPr>
          <p:cNvSpPr/>
          <p:nvPr/>
        </p:nvSpPr>
        <p:spPr>
          <a:xfrm>
            <a:off x="5669683" y="1457271"/>
            <a:ext cx="2688467" cy="4826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vert="horz" lIns="54000" tIns="27000" rIns="27000" bIns="27000" rtlCol="0" anchor="ctr"/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USTERIZZAZIONE CLIENTI</a:t>
            </a:r>
          </a:p>
        </p:txBody>
      </p:sp>
      <p:sp>
        <p:nvSpPr>
          <p:cNvPr id="128" name="Rectangle 147">
            <a:extLst>
              <a:ext uri="{FF2B5EF4-FFF2-40B4-BE49-F238E27FC236}">
                <a16:creationId xmlns:a16="http://schemas.microsoft.com/office/drawing/2014/main" id="{D912C637-4436-8527-BAC1-DD43596F6250}"/>
              </a:ext>
            </a:extLst>
          </p:cNvPr>
          <p:cNvSpPr/>
          <p:nvPr/>
        </p:nvSpPr>
        <p:spPr>
          <a:xfrm>
            <a:off x="6369419" y="2295056"/>
            <a:ext cx="2688467" cy="4826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vert="horz" lIns="54000" tIns="27000" rIns="27000" bIns="27000" rtlCol="0" anchor="ctr"/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IETTIVI COMMERCIALI E DI VENDITA</a:t>
            </a:r>
          </a:p>
        </p:txBody>
      </p:sp>
      <p:sp>
        <p:nvSpPr>
          <p:cNvPr id="129" name="Rectangle 147">
            <a:extLst>
              <a:ext uri="{FF2B5EF4-FFF2-40B4-BE49-F238E27FC236}">
                <a16:creationId xmlns:a16="http://schemas.microsoft.com/office/drawing/2014/main" id="{E29CE60D-E90A-28F9-F5DE-43239A04B18D}"/>
              </a:ext>
            </a:extLst>
          </p:cNvPr>
          <p:cNvSpPr/>
          <p:nvPr/>
        </p:nvSpPr>
        <p:spPr>
          <a:xfrm>
            <a:off x="6455533" y="3350910"/>
            <a:ext cx="2688467" cy="4826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vert="horz" lIns="54000" tIns="27000" rIns="27000" bIns="27000" rtlCol="0" anchor="ctr"/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VISIONI DI VENDITA</a:t>
            </a:r>
          </a:p>
        </p:txBody>
      </p:sp>
      <p:sp>
        <p:nvSpPr>
          <p:cNvPr id="130" name="Rectangle 147">
            <a:extLst>
              <a:ext uri="{FF2B5EF4-FFF2-40B4-BE49-F238E27FC236}">
                <a16:creationId xmlns:a16="http://schemas.microsoft.com/office/drawing/2014/main" id="{F2D5B038-D30F-E3C0-1B0A-899F33D5A174}"/>
              </a:ext>
            </a:extLst>
          </p:cNvPr>
          <p:cNvSpPr/>
          <p:nvPr/>
        </p:nvSpPr>
        <p:spPr>
          <a:xfrm>
            <a:off x="5683399" y="4208136"/>
            <a:ext cx="2688467" cy="4826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vert="horz" lIns="54000" tIns="27000" rIns="27000" bIns="27000" rtlCol="0" anchor="ctr"/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ORKFLOW APPROVATIVO</a:t>
            </a:r>
          </a:p>
        </p:txBody>
      </p:sp>
      <p:sp>
        <p:nvSpPr>
          <p:cNvPr id="3" name="Freeform 86">
            <a:extLst>
              <a:ext uri="{FF2B5EF4-FFF2-40B4-BE49-F238E27FC236}">
                <a16:creationId xmlns:a16="http://schemas.microsoft.com/office/drawing/2014/main" id="{4FF365B5-4363-7DD0-DACC-63CC532AD990}"/>
              </a:ext>
            </a:extLst>
          </p:cNvPr>
          <p:cNvSpPr/>
          <p:nvPr/>
        </p:nvSpPr>
        <p:spPr>
          <a:xfrm>
            <a:off x="8278600" y="292573"/>
            <a:ext cx="601677" cy="299668"/>
          </a:xfrm>
          <a:prstGeom prst="roundRect">
            <a:avLst/>
          </a:prstGeom>
          <a:solidFill>
            <a:srgbClr val="E0E1E3"/>
          </a:solidFill>
          <a:ln w="1152" cap="flat">
            <a:noFill/>
            <a:prstDash val="solid"/>
            <a:miter/>
          </a:ln>
          <a:effectLst>
            <a:glow rad="101600">
              <a:srgbClr val="FFFF00">
                <a:alpha val="60000"/>
              </a:srgbClr>
            </a:glow>
          </a:effectLst>
        </p:spPr>
        <p:txBody>
          <a:bodyPr rtlCol="0" anchor="ctr"/>
          <a:lstStyle/>
          <a:p>
            <a:pPr algn="ctr"/>
            <a:r>
              <a:rPr lang="en-US" sz="900" b="1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e</a:t>
            </a:r>
            <a:r>
              <a:rPr lang="en-US" sz="900" b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</a:t>
            </a:r>
          </a:p>
        </p:txBody>
      </p:sp>
      <p:pic>
        <p:nvPicPr>
          <p:cNvPr id="4" name="Picture 4" descr="8 Things You Need to Know Before Running a CRM System for ...">
            <a:extLst>
              <a:ext uri="{FF2B5EF4-FFF2-40B4-BE49-F238E27FC236}">
                <a16:creationId xmlns:a16="http://schemas.microsoft.com/office/drawing/2014/main" id="{D48A2C55-B746-7421-2042-D848B3FE087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943" t="6225" r="9776" b="-3440"/>
          <a:stretch/>
        </p:blipFill>
        <p:spPr bwMode="auto">
          <a:xfrm>
            <a:off x="3719073" y="2343455"/>
            <a:ext cx="1665487" cy="149400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4262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3">
            <a:extLst>
              <a:ext uri="{FF2B5EF4-FFF2-40B4-BE49-F238E27FC236}">
                <a16:creationId xmlns:a16="http://schemas.microsoft.com/office/drawing/2014/main" id="{BB0D6B5D-E757-4A7C-9631-D755D09E66F9}"/>
              </a:ext>
            </a:extLst>
          </p:cNvPr>
          <p:cNvSpPr txBox="1"/>
          <p:nvPr/>
        </p:nvSpPr>
        <p:spPr>
          <a:xfrm>
            <a:off x="721142" y="663539"/>
            <a:ext cx="799105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378">
              <a:defRPr/>
            </a:pPr>
            <a:r>
              <a:rPr lang="it-IT" sz="2400" b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zionalità | Fase 1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4FB586C-6FBC-4267-EBDD-3AC7D85FB4A9}"/>
              </a:ext>
            </a:extLst>
          </p:cNvPr>
          <p:cNvSpPr/>
          <p:nvPr/>
        </p:nvSpPr>
        <p:spPr>
          <a:xfrm>
            <a:off x="3342948" y="1187150"/>
            <a:ext cx="2388856" cy="3649255"/>
          </a:xfrm>
          <a:prstGeom prst="roundRect">
            <a:avLst>
              <a:gd name="adj" fmla="val 9836"/>
            </a:avLst>
          </a:prstGeo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r>
              <a:rPr lang="it-IT" sz="900" b="1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La funzionalità supporta dinamicamente l’inserimento degli Accordi Commerciali </a:t>
            </a:r>
            <a:r>
              <a:rPr lang="it-IT" sz="900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 prescindere dalla loro entità, siano essi semplici o articolati.</a:t>
            </a:r>
            <a:endParaRPr lang="it-IT" sz="900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355">
              <a:spcBef>
                <a:spcPts val="450"/>
              </a:spcBef>
              <a:defRPr/>
            </a:pPr>
            <a:r>
              <a:rPr lang="it-IT" sz="900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Inoltre, la funzionalità supporta la </a:t>
            </a:r>
            <a:r>
              <a:rPr lang="it-IT" sz="900" b="1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gestione di condizioni commerciali  specifiche per i grandi Eventi </a:t>
            </a:r>
            <a:r>
              <a:rPr lang="it-IT" sz="900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(es. Sanremo).</a:t>
            </a:r>
            <a:endParaRPr lang="it-IT" sz="900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A0D78E0-972D-646E-B358-791E4D65B0EA}"/>
              </a:ext>
            </a:extLst>
          </p:cNvPr>
          <p:cNvSpPr/>
          <p:nvPr/>
        </p:nvSpPr>
        <p:spPr>
          <a:xfrm>
            <a:off x="3486433" y="1275286"/>
            <a:ext cx="2101886" cy="319488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r>
              <a:rPr lang="it-IT" sz="900" b="1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ORDI COMMERCIALI</a:t>
            </a:r>
          </a:p>
        </p:txBody>
      </p:sp>
      <p:pic>
        <p:nvPicPr>
          <p:cNvPr id="50" name="Picture 49" descr="A person and person shaking hands&#10;&#10;Description automatically generated">
            <a:extLst>
              <a:ext uri="{FF2B5EF4-FFF2-40B4-BE49-F238E27FC236}">
                <a16:creationId xmlns:a16="http://schemas.microsoft.com/office/drawing/2014/main" id="{98F0CDF2-7982-E4E0-2F05-A1C84D05998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700" b="7947"/>
          <a:stretch/>
        </p:blipFill>
        <p:spPr>
          <a:xfrm>
            <a:off x="3368656" y="1682909"/>
            <a:ext cx="2337440" cy="1523001"/>
          </a:xfrm>
          <a:prstGeom prst="rect">
            <a:avLst/>
          </a:prstGeom>
        </p:spPr>
      </p:pic>
      <p:sp>
        <p:nvSpPr>
          <p:cNvPr id="4" name="Rectangle 23">
            <a:extLst>
              <a:ext uri="{FF2B5EF4-FFF2-40B4-BE49-F238E27FC236}">
                <a16:creationId xmlns:a16="http://schemas.microsoft.com/office/drawing/2014/main" id="{DB05F328-DCE6-CF73-C322-11EEAEBDDC98}"/>
              </a:ext>
            </a:extLst>
          </p:cNvPr>
          <p:cNvSpPr/>
          <p:nvPr/>
        </p:nvSpPr>
        <p:spPr>
          <a:xfrm>
            <a:off x="721142" y="1187150"/>
            <a:ext cx="2388856" cy="3649255"/>
          </a:xfrm>
          <a:prstGeom prst="roundRect">
            <a:avLst>
              <a:gd name="adj" fmla="val 9836"/>
            </a:avLst>
          </a:prstGeo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450"/>
              </a:spcBef>
              <a:defRPr/>
            </a:pPr>
            <a:r>
              <a:rPr lang="it-IT" sz="900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La Scheda Cliente è una </a:t>
            </a:r>
            <a:r>
              <a:rPr lang="it-IT" sz="900" b="1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funzionalità che centralizza tutte le informazioni </a:t>
            </a:r>
            <a:r>
              <a:rPr lang="it-IT" sz="900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relative a</a:t>
            </a:r>
            <a:r>
              <a:rPr lang="it-IT" sz="900" b="1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it-IT" sz="900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Clienti/ Agenzie Commerciali</a:t>
            </a:r>
          </a:p>
          <a:p>
            <a:pPr defTabSz="914355">
              <a:spcBef>
                <a:spcPts val="450"/>
              </a:spcBef>
              <a:defRPr/>
            </a:pPr>
            <a:r>
              <a:rPr lang="it-IT" sz="900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L’utente può inoltre visualizzare una </a:t>
            </a:r>
            <a:r>
              <a:rPr lang="it-IT" sz="900" b="1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intesi dei KPI di andamento del Cliente e accedere alle principali funzionalità di AMIX</a:t>
            </a:r>
            <a:r>
              <a:rPr lang="it-IT" sz="900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, quali ad esempio l’inserimento delle Previsioni, degli Accordi Commerciali e delle Richieste di Pianificazione (Ordini).</a:t>
            </a:r>
            <a:endParaRPr lang="it-IT" sz="900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13">
            <a:extLst>
              <a:ext uri="{FF2B5EF4-FFF2-40B4-BE49-F238E27FC236}">
                <a16:creationId xmlns:a16="http://schemas.microsoft.com/office/drawing/2014/main" id="{8942ADB6-5EA7-F11E-7E34-B4B3E3A44CD6}"/>
              </a:ext>
            </a:extLst>
          </p:cNvPr>
          <p:cNvSpPr/>
          <p:nvPr/>
        </p:nvSpPr>
        <p:spPr>
          <a:xfrm>
            <a:off x="864627" y="1275286"/>
            <a:ext cx="2101886" cy="319488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r>
              <a:rPr lang="it-IT" sz="900" b="1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EDA CLIENTE /AGENZIA</a:t>
            </a:r>
          </a:p>
        </p:txBody>
      </p:sp>
      <p:pic>
        <p:nvPicPr>
          <p:cNvPr id="56" name="Picture 55" descr="A person holding a piece of paper&#10;&#10;Description automatically generated">
            <a:extLst>
              <a:ext uri="{FF2B5EF4-FFF2-40B4-BE49-F238E27FC236}">
                <a16:creationId xmlns:a16="http://schemas.microsoft.com/office/drawing/2014/main" id="{219AFE41-1C1C-23FB-102E-ED7390F3136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581"/>
          <a:stretch/>
        </p:blipFill>
        <p:spPr>
          <a:xfrm>
            <a:off x="721141" y="1594774"/>
            <a:ext cx="2385903" cy="1520328"/>
          </a:xfrm>
          <a:prstGeom prst="rect">
            <a:avLst/>
          </a:prstGeom>
        </p:spPr>
      </p:pic>
      <p:sp>
        <p:nvSpPr>
          <p:cNvPr id="10" name="Rectangle 23">
            <a:extLst>
              <a:ext uri="{FF2B5EF4-FFF2-40B4-BE49-F238E27FC236}">
                <a16:creationId xmlns:a16="http://schemas.microsoft.com/office/drawing/2014/main" id="{6BD8420C-F982-0C3F-CB12-81E92325C874}"/>
              </a:ext>
            </a:extLst>
          </p:cNvPr>
          <p:cNvSpPr/>
          <p:nvPr/>
        </p:nvSpPr>
        <p:spPr>
          <a:xfrm>
            <a:off x="6029222" y="1181150"/>
            <a:ext cx="2388856" cy="3649255"/>
          </a:xfrm>
          <a:prstGeom prst="roundRect">
            <a:avLst>
              <a:gd name="adj" fmla="val 9836"/>
            </a:avLst>
          </a:prstGeom>
          <a:solidFill>
            <a:srgbClr val="FFFFF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200"/>
              </a:spcBef>
              <a:defRPr/>
            </a:pPr>
            <a:endParaRPr lang="it-IT" sz="900" b="1">
              <a:solidFill>
                <a:srgbClr val="5A148E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defTabSz="914355">
              <a:spcBef>
                <a:spcPts val="450"/>
              </a:spcBef>
              <a:defRPr/>
            </a:pPr>
            <a:r>
              <a:rPr lang="it-IT" sz="900" dirty="0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Attraverso la funzionalità di Gestione dei Contatti </a:t>
            </a:r>
            <a:r>
              <a:rPr lang="it-IT" sz="900" b="1" dirty="0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gli utenti possono censire e gestire le informazioni dei diversi contatti associati a Clienti e Agenzie. </a:t>
            </a:r>
            <a:endParaRPr lang="it-IT" sz="900" dirty="0">
              <a:solidFill>
                <a:srgbClr val="5A148E"/>
              </a:solidFill>
              <a:latin typeface="Arial"/>
              <a:cs typeface="Arial"/>
              <a:sym typeface="Wingdings" panose="05000000000000000000" pitchFamily="2" charset="2"/>
            </a:endParaRPr>
          </a:p>
          <a:p>
            <a:pPr defTabSz="914355">
              <a:spcBef>
                <a:spcPts val="450"/>
              </a:spcBef>
              <a:defRPr/>
            </a:pPr>
            <a:r>
              <a:rPr lang="it-IT" sz="900" dirty="0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I contatti censiti in AMIX </a:t>
            </a:r>
            <a:r>
              <a:rPr lang="it-IT" sz="900" b="1" dirty="0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alimenteranno il database per la gestione degli Eventi</a:t>
            </a:r>
            <a:r>
              <a:rPr lang="it-IT" sz="900" dirty="0">
                <a:solidFill>
                  <a:srgbClr val="5A148E"/>
                </a:solidFill>
                <a:latin typeface="Arial"/>
                <a:cs typeface="Arial"/>
                <a:sym typeface="Wingdings" panose="05000000000000000000" pitchFamily="2" charset="2"/>
              </a:rPr>
              <a:t>.</a:t>
            </a:r>
            <a:endParaRPr lang="it-IT" sz="900" dirty="0">
              <a:solidFill>
                <a:srgbClr val="5A148E"/>
              </a:solidFill>
              <a:latin typeface="Arial"/>
              <a:cs typeface="Arial"/>
            </a:endParaRPr>
          </a:p>
        </p:txBody>
      </p:sp>
      <p:sp>
        <p:nvSpPr>
          <p:cNvPr id="12" name="Rectangle 13">
            <a:extLst>
              <a:ext uri="{FF2B5EF4-FFF2-40B4-BE49-F238E27FC236}">
                <a16:creationId xmlns:a16="http://schemas.microsoft.com/office/drawing/2014/main" id="{67DFB698-88FF-0092-93C1-DF69755729A8}"/>
              </a:ext>
            </a:extLst>
          </p:cNvPr>
          <p:cNvSpPr/>
          <p:nvPr/>
        </p:nvSpPr>
        <p:spPr>
          <a:xfrm>
            <a:off x="6172707" y="1269286"/>
            <a:ext cx="2101886" cy="319488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r>
              <a:rPr lang="it-IT" sz="900" b="1">
                <a:solidFill>
                  <a:srgbClr val="5A14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ONE CONTATTI</a:t>
            </a:r>
          </a:p>
        </p:txBody>
      </p:sp>
      <p:pic>
        <p:nvPicPr>
          <p:cNvPr id="54" name="Picture 53" descr="A person holding a tablet&#10;&#10;Description automatically generated">
            <a:extLst>
              <a:ext uri="{FF2B5EF4-FFF2-40B4-BE49-F238E27FC236}">
                <a16:creationId xmlns:a16="http://schemas.microsoft.com/office/drawing/2014/main" id="{CD1A84A4-274B-2310-DB89-26F35DEB101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07" r="7497"/>
          <a:stretch/>
        </p:blipFill>
        <p:spPr>
          <a:xfrm>
            <a:off x="6110177" y="1729926"/>
            <a:ext cx="2195762" cy="1453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910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" name="Input penna 1">
                <a:extLst>
                  <a:ext uri="{FF2B5EF4-FFF2-40B4-BE49-F238E27FC236}">
                    <a16:creationId xmlns:a16="http://schemas.microsoft.com/office/drawing/2014/main" id="{A6EDF22F-1C78-5B5C-1587-26AA18095DD0}"/>
                  </a:ext>
                </a:extLst>
              </p14:cNvPr>
              <p14:cNvContentPartPr/>
              <p14:nvPr/>
            </p14:nvContentPartPr>
            <p14:xfrm>
              <a:off x="1373752" y="877641"/>
              <a:ext cx="1080" cy="2880"/>
            </p14:xfrm>
          </p:contentPart>
        </mc:Choice>
        <mc:Fallback xmlns="">
          <p:pic>
            <p:nvPicPr>
              <p:cNvPr id="2" name="Input penna 1">
                <a:extLst>
                  <a:ext uri="{FF2B5EF4-FFF2-40B4-BE49-F238E27FC236}">
                    <a16:creationId xmlns:a16="http://schemas.microsoft.com/office/drawing/2014/main" id="{A6EDF22F-1C78-5B5C-1587-26AA18095DD0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69162" y="870647"/>
                <a:ext cx="10260" cy="16869"/>
              </a:xfrm>
              <a:prstGeom prst="rect">
                <a:avLst/>
              </a:prstGeom>
            </p:spPr>
          </p:pic>
        </mc:Fallback>
      </mc:AlternateContent>
      <p:sp>
        <p:nvSpPr>
          <p:cNvPr id="5" name="CasellaDiTesto 4">
            <a:extLst>
              <a:ext uri="{FF2B5EF4-FFF2-40B4-BE49-F238E27FC236}">
                <a16:creationId xmlns:a16="http://schemas.microsoft.com/office/drawing/2014/main" id="{D95EEE31-2C49-317A-A952-2C8B568D8CC7}"/>
              </a:ext>
            </a:extLst>
          </p:cNvPr>
          <p:cNvSpPr txBox="1"/>
          <p:nvPr/>
        </p:nvSpPr>
        <p:spPr>
          <a:xfrm>
            <a:off x="527603" y="663538"/>
            <a:ext cx="4044395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MO</a:t>
            </a:r>
          </a:p>
        </p:txBody>
      </p:sp>
      <p:pic>
        <p:nvPicPr>
          <p:cNvPr id="13" name="Immagine 5">
            <a:extLst>
              <a:ext uri="{FF2B5EF4-FFF2-40B4-BE49-F238E27FC236}">
                <a16:creationId xmlns:a16="http://schemas.microsoft.com/office/drawing/2014/main" id="{550FC876-F14A-AA97-E5CA-2E529932C08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119" y="877641"/>
            <a:ext cx="7575760" cy="4171375"/>
          </a:xfrm>
          <a:prstGeom prst="rect">
            <a:avLst/>
          </a:prstGeom>
        </p:spPr>
      </p:pic>
      <p:sp>
        <p:nvSpPr>
          <p:cNvPr id="11" name="Rettangolo 10">
            <a:extLst>
              <a:ext uri="{FF2B5EF4-FFF2-40B4-BE49-F238E27FC236}">
                <a16:creationId xmlns:a16="http://schemas.microsoft.com/office/drawing/2014/main" id="{DB53EA78-A284-EC90-FB75-A1E37C1C79EF}"/>
              </a:ext>
            </a:extLst>
          </p:cNvPr>
          <p:cNvSpPr/>
          <p:nvPr/>
        </p:nvSpPr>
        <p:spPr>
          <a:xfrm>
            <a:off x="2213809" y="1851610"/>
            <a:ext cx="4716379" cy="222343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SLIDE GRAFICA PER LANCIO DEM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(ES. MOCKUP PC CON SCREEN AMIX)</a:t>
            </a:r>
          </a:p>
        </p:txBody>
      </p:sp>
      <p:pic>
        <p:nvPicPr>
          <p:cNvPr id="14" name="Picture 16">
            <a:extLst>
              <a:ext uri="{FF2B5EF4-FFF2-40B4-BE49-F238E27FC236}">
                <a16:creationId xmlns:a16="http://schemas.microsoft.com/office/drawing/2014/main" id="{54A059E4-95B2-481B-5BDB-536E7A26527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1" b="19546"/>
          <a:stretch/>
        </p:blipFill>
        <p:spPr>
          <a:xfrm>
            <a:off x="1816367" y="1246973"/>
            <a:ext cx="5511262" cy="3184268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pSp>
        <p:nvGrpSpPr>
          <p:cNvPr id="3" name="Gruppo 2">
            <a:extLst>
              <a:ext uri="{FF2B5EF4-FFF2-40B4-BE49-F238E27FC236}">
                <a16:creationId xmlns:a16="http://schemas.microsoft.com/office/drawing/2014/main" id="{39B52324-E386-6973-33BE-B664618E75B2}"/>
              </a:ext>
            </a:extLst>
          </p:cNvPr>
          <p:cNvGrpSpPr/>
          <p:nvPr/>
        </p:nvGrpSpPr>
        <p:grpSpPr>
          <a:xfrm>
            <a:off x="4024256" y="2315725"/>
            <a:ext cx="1095483" cy="1095483"/>
            <a:chOff x="2587763" y="1435929"/>
            <a:chExt cx="1779299" cy="177929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" name="Ovale 3">
              <a:extLst>
                <a:ext uri="{FF2B5EF4-FFF2-40B4-BE49-F238E27FC236}">
                  <a16:creationId xmlns:a16="http://schemas.microsoft.com/office/drawing/2014/main" id="{E60BC8D6-4150-A58D-7B12-07862BFF8621}"/>
                </a:ext>
              </a:extLst>
            </p:cNvPr>
            <p:cNvSpPr/>
            <p:nvPr/>
          </p:nvSpPr>
          <p:spPr>
            <a:xfrm>
              <a:off x="2587763" y="1435929"/>
              <a:ext cx="1779299" cy="1779299"/>
            </a:xfrm>
            <a:prstGeom prst="ellipse">
              <a:avLst/>
            </a:prstGeom>
            <a:solidFill>
              <a:srgbClr val="0503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6" name="Triangolo isoscele 5">
              <a:extLst>
                <a:ext uri="{FF2B5EF4-FFF2-40B4-BE49-F238E27FC236}">
                  <a16:creationId xmlns:a16="http://schemas.microsoft.com/office/drawing/2014/main" id="{17EA3D52-EF6B-5651-26E6-3C563D760A76}"/>
                </a:ext>
              </a:extLst>
            </p:cNvPr>
            <p:cNvSpPr/>
            <p:nvPr/>
          </p:nvSpPr>
          <p:spPr>
            <a:xfrm rot="5400000">
              <a:off x="3009987" y="2045654"/>
              <a:ext cx="1179670" cy="559849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</p:spTree>
    <p:extLst>
      <p:ext uri="{BB962C8B-B14F-4D97-AF65-F5344CB8AC3E}">
        <p14:creationId xmlns:p14="http://schemas.microsoft.com/office/powerpoint/2010/main" val="2979427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6">
            <a:extLst>
              <a:ext uri="{FF2B5EF4-FFF2-40B4-BE49-F238E27FC236}">
                <a16:creationId xmlns:a16="http://schemas.microsoft.com/office/drawing/2014/main" id="{9FB7B26B-A603-28CB-C7B8-28A590C5DF6C}"/>
              </a:ext>
            </a:extLst>
          </p:cNvPr>
          <p:cNvSpPr txBox="1"/>
          <p:nvPr/>
        </p:nvSpPr>
        <p:spPr>
          <a:xfrm>
            <a:off x="527605" y="663538"/>
            <a:ext cx="5586116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l CRM e le sue funzionalità</a:t>
            </a:r>
          </a:p>
        </p:txBody>
      </p:sp>
      <p:sp>
        <p:nvSpPr>
          <p:cNvPr id="34" name="Freeform: Shape 48">
            <a:extLst>
              <a:ext uri="{FF2B5EF4-FFF2-40B4-BE49-F238E27FC236}">
                <a16:creationId xmlns:a16="http://schemas.microsoft.com/office/drawing/2014/main" id="{C064EB98-DBE4-72AB-9637-F15865CB78D4}"/>
              </a:ext>
            </a:extLst>
          </p:cNvPr>
          <p:cNvSpPr/>
          <p:nvPr/>
        </p:nvSpPr>
        <p:spPr>
          <a:xfrm>
            <a:off x="3280454" y="1746284"/>
            <a:ext cx="2604569" cy="2604569"/>
          </a:xfrm>
          <a:custGeom>
            <a:avLst/>
            <a:gdLst>
              <a:gd name="connsiteX0" fmla="*/ 1736379 w 3472758"/>
              <a:gd name="connsiteY0" fmla="*/ 0 h 3472758"/>
              <a:gd name="connsiteX1" fmla="*/ 1780182 w 3472758"/>
              <a:gd name="connsiteY1" fmla="*/ 2212 h 3472758"/>
              <a:gd name="connsiteX2" fmla="*/ 1773419 w 3472758"/>
              <a:gd name="connsiteY2" fmla="*/ 69295 h 3472758"/>
              <a:gd name="connsiteX3" fmla="*/ 2431395 w 3472758"/>
              <a:gd name="connsiteY3" fmla="*/ 727271 h 3472758"/>
              <a:gd name="connsiteX4" fmla="*/ 2896655 w 3472758"/>
              <a:gd name="connsiteY4" fmla="*/ 534554 h 3472758"/>
              <a:gd name="connsiteX5" fmla="*/ 2937843 w 3472758"/>
              <a:gd name="connsiteY5" fmla="*/ 484633 h 3472758"/>
              <a:gd name="connsiteX6" fmla="*/ 2964185 w 3472758"/>
              <a:gd name="connsiteY6" fmla="*/ 508574 h 3472758"/>
              <a:gd name="connsiteX7" fmla="*/ 2985835 w 3472758"/>
              <a:gd name="connsiteY7" fmla="*/ 532395 h 3472758"/>
              <a:gd name="connsiteX8" fmla="*/ 2919096 w 3472758"/>
              <a:gd name="connsiteY8" fmla="*/ 587460 h 3472758"/>
              <a:gd name="connsiteX9" fmla="*/ 2726379 w 3472758"/>
              <a:gd name="connsiteY9" fmla="*/ 1052719 h 3472758"/>
              <a:gd name="connsiteX10" fmla="*/ 3384355 w 3472758"/>
              <a:gd name="connsiteY10" fmla="*/ 1710695 h 3472758"/>
              <a:gd name="connsiteX11" fmla="*/ 3471020 w 3472758"/>
              <a:gd name="connsiteY11" fmla="*/ 1701959 h 3472758"/>
              <a:gd name="connsiteX12" fmla="*/ 3472758 w 3472758"/>
              <a:gd name="connsiteY12" fmla="*/ 1736379 h 3472758"/>
              <a:gd name="connsiteX13" fmla="*/ 3471020 w 3472758"/>
              <a:gd name="connsiteY13" fmla="*/ 1770801 h 3472758"/>
              <a:gd name="connsiteX14" fmla="*/ 3384355 w 3472758"/>
              <a:gd name="connsiteY14" fmla="*/ 1762064 h 3472758"/>
              <a:gd name="connsiteX15" fmla="*/ 2726379 w 3472758"/>
              <a:gd name="connsiteY15" fmla="*/ 2420040 h 3472758"/>
              <a:gd name="connsiteX16" fmla="*/ 2919096 w 3472758"/>
              <a:gd name="connsiteY16" fmla="*/ 2885299 h 3472758"/>
              <a:gd name="connsiteX17" fmla="*/ 2985835 w 3472758"/>
              <a:gd name="connsiteY17" fmla="*/ 2940364 h 3472758"/>
              <a:gd name="connsiteX18" fmla="*/ 2964185 w 3472758"/>
              <a:gd name="connsiteY18" fmla="*/ 2964185 h 3472758"/>
              <a:gd name="connsiteX19" fmla="*/ 2940705 w 3472758"/>
              <a:gd name="connsiteY19" fmla="*/ 2985526 h 3472758"/>
              <a:gd name="connsiteX20" fmla="*/ 2896655 w 3472758"/>
              <a:gd name="connsiteY20" fmla="*/ 2932136 h 3472758"/>
              <a:gd name="connsiteX21" fmla="*/ 2431395 w 3472758"/>
              <a:gd name="connsiteY21" fmla="*/ 2739419 h 3472758"/>
              <a:gd name="connsiteX22" fmla="*/ 1773419 w 3472758"/>
              <a:gd name="connsiteY22" fmla="*/ 3397395 h 3472758"/>
              <a:gd name="connsiteX23" fmla="*/ 1780790 w 3472758"/>
              <a:gd name="connsiteY23" fmla="*/ 3470516 h 3472758"/>
              <a:gd name="connsiteX24" fmla="*/ 1736379 w 3472758"/>
              <a:gd name="connsiteY24" fmla="*/ 3472758 h 3472758"/>
              <a:gd name="connsiteX25" fmla="*/ 1683694 w 3472758"/>
              <a:gd name="connsiteY25" fmla="*/ 3470098 h 3472758"/>
              <a:gd name="connsiteX26" fmla="*/ 1691023 w 3472758"/>
              <a:gd name="connsiteY26" fmla="*/ 3397395 h 3472758"/>
              <a:gd name="connsiteX27" fmla="*/ 1033047 w 3472758"/>
              <a:gd name="connsiteY27" fmla="*/ 2739419 h 3472758"/>
              <a:gd name="connsiteX28" fmla="*/ 567788 w 3472758"/>
              <a:gd name="connsiteY28" fmla="*/ 2932136 h 3472758"/>
              <a:gd name="connsiteX29" fmla="*/ 527302 w 3472758"/>
              <a:gd name="connsiteY29" fmla="*/ 2981206 h 3472758"/>
              <a:gd name="connsiteX30" fmla="*/ 508574 w 3472758"/>
              <a:gd name="connsiteY30" fmla="*/ 2964185 h 3472758"/>
              <a:gd name="connsiteX31" fmla="*/ 476030 w 3472758"/>
              <a:gd name="connsiteY31" fmla="*/ 2928377 h 3472758"/>
              <a:gd name="connsiteX32" fmla="*/ 528241 w 3472758"/>
              <a:gd name="connsiteY32" fmla="*/ 2885299 h 3472758"/>
              <a:gd name="connsiteX33" fmla="*/ 720957 w 3472758"/>
              <a:gd name="connsiteY33" fmla="*/ 2420040 h 3472758"/>
              <a:gd name="connsiteX34" fmla="*/ 62981 w 3472758"/>
              <a:gd name="connsiteY34" fmla="*/ 1762064 h 3472758"/>
              <a:gd name="connsiteX35" fmla="*/ 1610 w 3472758"/>
              <a:gd name="connsiteY35" fmla="*/ 1768251 h 3472758"/>
              <a:gd name="connsiteX36" fmla="*/ 0 w 3472758"/>
              <a:gd name="connsiteY36" fmla="*/ 1736379 h 3472758"/>
              <a:gd name="connsiteX37" fmla="*/ 1610 w 3472758"/>
              <a:gd name="connsiteY37" fmla="*/ 1704508 h 3472758"/>
              <a:gd name="connsiteX38" fmla="*/ 62981 w 3472758"/>
              <a:gd name="connsiteY38" fmla="*/ 1710695 h 3472758"/>
              <a:gd name="connsiteX39" fmla="*/ 720957 w 3472758"/>
              <a:gd name="connsiteY39" fmla="*/ 1052719 h 3472758"/>
              <a:gd name="connsiteX40" fmla="*/ 528241 w 3472758"/>
              <a:gd name="connsiteY40" fmla="*/ 587460 h 3472758"/>
              <a:gd name="connsiteX41" fmla="*/ 476029 w 3472758"/>
              <a:gd name="connsiteY41" fmla="*/ 544382 h 3472758"/>
              <a:gd name="connsiteX42" fmla="*/ 508574 w 3472758"/>
              <a:gd name="connsiteY42" fmla="*/ 508574 h 3472758"/>
              <a:gd name="connsiteX43" fmla="*/ 530163 w 3472758"/>
              <a:gd name="connsiteY43" fmla="*/ 488953 h 3472758"/>
              <a:gd name="connsiteX44" fmla="*/ 567788 w 3472758"/>
              <a:gd name="connsiteY44" fmla="*/ 534554 h 3472758"/>
              <a:gd name="connsiteX45" fmla="*/ 1033047 w 3472758"/>
              <a:gd name="connsiteY45" fmla="*/ 727271 h 3472758"/>
              <a:gd name="connsiteX46" fmla="*/ 1691023 w 3472758"/>
              <a:gd name="connsiteY46" fmla="*/ 69295 h 3472758"/>
              <a:gd name="connsiteX47" fmla="*/ 1684303 w 3472758"/>
              <a:gd name="connsiteY47" fmla="*/ 2630 h 3472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3472758" h="3472758">
                <a:moveTo>
                  <a:pt x="1736379" y="0"/>
                </a:moveTo>
                <a:lnTo>
                  <a:pt x="1780182" y="2212"/>
                </a:lnTo>
                <a:lnTo>
                  <a:pt x="1773419" y="69295"/>
                </a:lnTo>
                <a:cubicBezTo>
                  <a:pt x="1773419" y="432685"/>
                  <a:pt x="2068005" y="727271"/>
                  <a:pt x="2431395" y="727271"/>
                </a:cubicBezTo>
                <a:cubicBezTo>
                  <a:pt x="2613090" y="727271"/>
                  <a:pt x="2777584" y="653625"/>
                  <a:pt x="2896655" y="534554"/>
                </a:cubicBezTo>
                <a:lnTo>
                  <a:pt x="2937843" y="484633"/>
                </a:lnTo>
                <a:lnTo>
                  <a:pt x="2964185" y="508574"/>
                </a:lnTo>
                <a:lnTo>
                  <a:pt x="2985835" y="532395"/>
                </a:lnTo>
                <a:lnTo>
                  <a:pt x="2919096" y="587460"/>
                </a:lnTo>
                <a:cubicBezTo>
                  <a:pt x="2800026" y="706530"/>
                  <a:pt x="2726379" y="871024"/>
                  <a:pt x="2726379" y="1052719"/>
                </a:cubicBezTo>
                <a:cubicBezTo>
                  <a:pt x="2726379" y="1416109"/>
                  <a:pt x="3020965" y="1710695"/>
                  <a:pt x="3384355" y="1710695"/>
                </a:cubicBezTo>
                <a:lnTo>
                  <a:pt x="3471020" y="1701959"/>
                </a:lnTo>
                <a:lnTo>
                  <a:pt x="3472758" y="1736379"/>
                </a:lnTo>
                <a:lnTo>
                  <a:pt x="3471020" y="1770801"/>
                </a:lnTo>
                <a:lnTo>
                  <a:pt x="3384355" y="1762064"/>
                </a:lnTo>
                <a:cubicBezTo>
                  <a:pt x="3020965" y="1762064"/>
                  <a:pt x="2726379" y="2056650"/>
                  <a:pt x="2726379" y="2420040"/>
                </a:cubicBezTo>
                <a:cubicBezTo>
                  <a:pt x="2726379" y="2601735"/>
                  <a:pt x="2800026" y="2766229"/>
                  <a:pt x="2919096" y="2885299"/>
                </a:cubicBezTo>
                <a:lnTo>
                  <a:pt x="2985835" y="2940364"/>
                </a:lnTo>
                <a:lnTo>
                  <a:pt x="2964185" y="2964185"/>
                </a:lnTo>
                <a:lnTo>
                  <a:pt x="2940705" y="2985526"/>
                </a:lnTo>
                <a:lnTo>
                  <a:pt x="2896655" y="2932136"/>
                </a:lnTo>
                <a:cubicBezTo>
                  <a:pt x="2777584" y="2813066"/>
                  <a:pt x="2613090" y="2739419"/>
                  <a:pt x="2431395" y="2739419"/>
                </a:cubicBezTo>
                <a:cubicBezTo>
                  <a:pt x="2068005" y="2739419"/>
                  <a:pt x="1773419" y="3034005"/>
                  <a:pt x="1773419" y="3397395"/>
                </a:cubicBezTo>
                <a:lnTo>
                  <a:pt x="1780790" y="3470516"/>
                </a:lnTo>
                <a:lnTo>
                  <a:pt x="1736379" y="3472758"/>
                </a:lnTo>
                <a:lnTo>
                  <a:pt x="1683694" y="3470098"/>
                </a:lnTo>
                <a:lnTo>
                  <a:pt x="1691023" y="3397395"/>
                </a:lnTo>
                <a:cubicBezTo>
                  <a:pt x="1691023" y="3034005"/>
                  <a:pt x="1396437" y="2739419"/>
                  <a:pt x="1033047" y="2739419"/>
                </a:cubicBezTo>
                <a:cubicBezTo>
                  <a:pt x="851352" y="2739419"/>
                  <a:pt x="686858" y="2813066"/>
                  <a:pt x="567788" y="2932136"/>
                </a:cubicBezTo>
                <a:lnTo>
                  <a:pt x="527302" y="2981206"/>
                </a:lnTo>
                <a:lnTo>
                  <a:pt x="508574" y="2964185"/>
                </a:lnTo>
                <a:lnTo>
                  <a:pt x="476030" y="2928377"/>
                </a:lnTo>
                <a:lnTo>
                  <a:pt x="528241" y="2885299"/>
                </a:lnTo>
                <a:cubicBezTo>
                  <a:pt x="647311" y="2766229"/>
                  <a:pt x="720957" y="2601735"/>
                  <a:pt x="720957" y="2420040"/>
                </a:cubicBezTo>
                <a:cubicBezTo>
                  <a:pt x="720957" y="2056650"/>
                  <a:pt x="426371" y="1762064"/>
                  <a:pt x="62981" y="1762064"/>
                </a:cubicBezTo>
                <a:lnTo>
                  <a:pt x="1610" y="1768251"/>
                </a:lnTo>
                <a:lnTo>
                  <a:pt x="0" y="1736379"/>
                </a:lnTo>
                <a:lnTo>
                  <a:pt x="1610" y="1704508"/>
                </a:lnTo>
                <a:lnTo>
                  <a:pt x="62981" y="1710695"/>
                </a:lnTo>
                <a:cubicBezTo>
                  <a:pt x="426371" y="1710695"/>
                  <a:pt x="720957" y="1416109"/>
                  <a:pt x="720957" y="1052719"/>
                </a:cubicBezTo>
                <a:cubicBezTo>
                  <a:pt x="720957" y="871024"/>
                  <a:pt x="647311" y="706530"/>
                  <a:pt x="528241" y="587460"/>
                </a:cubicBezTo>
                <a:lnTo>
                  <a:pt x="476029" y="544382"/>
                </a:lnTo>
                <a:lnTo>
                  <a:pt x="508574" y="508574"/>
                </a:lnTo>
                <a:lnTo>
                  <a:pt x="530163" y="488953"/>
                </a:lnTo>
                <a:lnTo>
                  <a:pt x="567788" y="534554"/>
                </a:lnTo>
                <a:cubicBezTo>
                  <a:pt x="686858" y="653625"/>
                  <a:pt x="851352" y="727271"/>
                  <a:pt x="1033047" y="727271"/>
                </a:cubicBezTo>
                <a:cubicBezTo>
                  <a:pt x="1396437" y="727271"/>
                  <a:pt x="1691023" y="432685"/>
                  <a:pt x="1691023" y="69295"/>
                </a:cubicBezTo>
                <a:lnTo>
                  <a:pt x="1684303" y="2630"/>
                </a:lnTo>
                <a:close/>
              </a:path>
            </a:pathLst>
          </a:custGeom>
          <a:solidFill>
            <a:schemeClr val="bg1"/>
          </a:solidFill>
          <a:ln w="115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1350"/>
          </a:p>
        </p:txBody>
      </p:sp>
      <p:grpSp>
        <p:nvGrpSpPr>
          <p:cNvPr id="35" name="Graphic 4">
            <a:extLst>
              <a:ext uri="{FF2B5EF4-FFF2-40B4-BE49-F238E27FC236}">
                <a16:creationId xmlns:a16="http://schemas.microsoft.com/office/drawing/2014/main" id="{BED87F85-D11F-1A95-BD52-1C743D4242B1}"/>
              </a:ext>
            </a:extLst>
          </p:cNvPr>
          <p:cNvGrpSpPr/>
          <p:nvPr/>
        </p:nvGrpSpPr>
        <p:grpSpPr>
          <a:xfrm>
            <a:off x="3668419" y="1390496"/>
            <a:ext cx="737834" cy="506996"/>
            <a:chOff x="7631008" y="213577"/>
            <a:chExt cx="170466" cy="117134"/>
          </a:xfrm>
          <a:solidFill>
            <a:schemeClr val="accent4">
              <a:lumMod val="60000"/>
              <a:lumOff val="40000"/>
            </a:schemeClr>
          </a:solidFill>
          <a:effectLst/>
        </p:grpSpPr>
        <p:sp>
          <p:nvSpPr>
            <p:cNvPr id="36" name="Freeform 111">
              <a:extLst>
                <a:ext uri="{FF2B5EF4-FFF2-40B4-BE49-F238E27FC236}">
                  <a16:creationId xmlns:a16="http://schemas.microsoft.com/office/drawing/2014/main" id="{D46E2B07-2F0A-08F1-C8E9-B66BBDEF7B3B}"/>
                </a:ext>
              </a:extLst>
            </p:cNvPr>
            <p:cNvSpPr/>
            <p:nvPr/>
          </p:nvSpPr>
          <p:spPr>
            <a:xfrm>
              <a:off x="7631008" y="310903"/>
              <a:ext cx="1152" cy="598"/>
            </a:xfrm>
            <a:custGeom>
              <a:avLst/>
              <a:gdLst>
                <a:gd name="connsiteX0" fmla="*/ 0 w 1152"/>
                <a:gd name="connsiteY0" fmla="*/ 299 h 598"/>
                <a:gd name="connsiteX1" fmla="*/ 0 w 1152"/>
                <a:gd name="connsiteY1" fmla="*/ 299 h 598"/>
                <a:gd name="connsiteX2" fmla="*/ 0 w 1152"/>
                <a:gd name="connsiteY2" fmla="*/ 299 h 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2" h="598">
                  <a:moveTo>
                    <a:pt x="0" y="299"/>
                  </a:moveTo>
                  <a:cubicBezTo>
                    <a:pt x="0" y="-738"/>
                    <a:pt x="0" y="1337"/>
                    <a:pt x="0" y="299"/>
                  </a:cubicBezTo>
                  <a:lnTo>
                    <a:pt x="0" y="299"/>
                  </a:ln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37" name="Freeform 112">
              <a:extLst>
                <a:ext uri="{FF2B5EF4-FFF2-40B4-BE49-F238E27FC236}">
                  <a16:creationId xmlns:a16="http://schemas.microsoft.com/office/drawing/2014/main" id="{455378AF-3227-59C7-D229-FEAC7DDE7965}"/>
                </a:ext>
              </a:extLst>
            </p:cNvPr>
            <p:cNvSpPr/>
            <p:nvPr/>
          </p:nvSpPr>
          <p:spPr>
            <a:xfrm>
              <a:off x="7632341" y="213577"/>
              <a:ext cx="169134" cy="117134"/>
            </a:xfrm>
            <a:custGeom>
              <a:avLst/>
              <a:gdLst>
                <a:gd name="connsiteX0" fmla="*/ 90989 w 169134"/>
                <a:gd name="connsiteY0" fmla="*/ 115 h 117134"/>
                <a:gd name="connsiteX1" fmla="*/ 973 w 169134"/>
                <a:gd name="connsiteY1" fmla="*/ 72614 h 117134"/>
                <a:gd name="connsiteX2" fmla="*/ 32323 w 169134"/>
                <a:gd name="connsiteY2" fmla="*/ 116759 h 117134"/>
                <a:gd name="connsiteX3" fmla="*/ 33821 w 169134"/>
                <a:gd name="connsiteY3" fmla="*/ 116874 h 117134"/>
                <a:gd name="connsiteX4" fmla="*/ 104475 w 169134"/>
                <a:gd name="connsiteY4" fmla="*/ 76302 h 117134"/>
                <a:gd name="connsiteX5" fmla="*/ 169134 w 169134"/>
                <a:gd name="connsiteY5" fmla="*/ 42070 h 117134"/>
                <a:gd name="connsiteX6" fmla="*/ 90989 w 169134"/>
                <a:gd name="connsiteY6" fmla="*/ 0 h 117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134" h="117134">
                  <a:moveTo>
                    <a:pt x="90989" y="115"/>
                  </a:moveTo>
                  <a:cubicBezTo>
                    <a:pt x="47191" y="115"/>
                    <a:pt x="10654" y="32042"/>
                    <a:pt x="973" y="72614"/>
                  </a:cubicBezTo>
                  <a:cubicBezTo>
                    <a:pt x="-3984" y="93476"/>
                    <a:pt x="10539" y="114338"/>
                    <a:pt x="32323" y="116759"/>
                  </a:cubicBezTo>
                  <a:cubicBezTo>
                    <a:pt x="32784" y="116759"/>
                    <a:pt x="33245" y="116759"/>
                    <a:pt x="33821" y="116874"/>
                  </a:cubicBezTo>
                  <a:cubicBezTo>
                    <a:pt x="64941" y="119640"/>
                    <a:pt x="87762" y="99931"/>
                    <a:pt x="104475" y="76302"/>
                  </a:cubicBezTo>
                  <a:cubicBezTo>
                    <a:pt x="118075" y="57054"/>
                    <a:pt x="144123" y="28815"/>
                    <a:pt x="169134" y="42070"/>
                  </a:cubicBezTo>
                  <a:cubicBezTo>
                    <a:pt x="152768" y="16828"/>
                    <a:pt x="123838" y="0"/>
                    <a:pt x="90989" y="0"/>
                  </a:cubicBez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38" name="Freeform 110">
            <a:extLst>
              <a:ext uri="{FF2B5EF4-FFF2-40B4-BE49-F238E27FC236}">
                <a16:creationId xmlns:a16="http://schemas.microsoft.com/office/drawing/2014/main" id="{1DDD3FF0-CBE4-41F3-A6FC-ED7840C94C19}"/>
              </a:ext>
            </a:extLst>
          </p:cNvPr>
          <p:cNvSpPr/>
          <p:nvPr/>
        </p:nvSpPr>
        <p:spPr>
          <a:xfrm>
            <a:off x="3667921" y="1578887"/>
            <a:ext cx="800201" cy="621354"/>
          </a:xfrm>
          <a:custGeom>
            <a:avLst/>
            <a:gdLst>
              <a:gd name="connsiteX0" fmla="*/ 178881 w 184875"/>
              <a:gd name="connsiteY0" fmla="*/ 18140 h 143555"/>
              <a:gd name="connsiteX1" fmla="*/ 138195 w 184875"/>
              <a:gd name="connsiteY1" fmla="*/ 3848 h 143555"/>
              <a:gd name="connsiteX2" fmla="*/ 105922 w 184875"/>
              <a:gd name="connsiteY2" fmla="*/ 36582 h 143555"/>
              <a:gd name="connsiteX3" fmla="*/ 35269 w 184875"/>
              <a:gd name="connsiteY3" fmla="*/ 78075 h 143555"/>
              <a:gd name="connsiteX4" fmla="*/ 0 w 184875"/>
              <a:gd name="connsiteY4" fmla="*/ 54101 h 143555"/>
              <a:gd name="connsiteX5" fmla="*/ 93935 w 184875"/>
              <a:gd name="connsiteY5" fmla="*/ 143543 h 143555"/>
              <a:gd name="connsiteX6" fmla="*/ 184874 w 184875"/>
              <a:gd name="connsiteY6" fmla="*/ 50643 h 143555"/>
              <a:gd name="connsiteX7" fmla="*/ 178881 w 184875"/>
              <a:gd name="connsiteY7" fmla="*/ 18140 h 1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4875" h="143555">
                <a:moveTo>
                  <a:pt x="178881" y="18140"/>
                </a:moveTo>
                <a:cubicBezTo>
                  <a:pt x="172657" y="1888"/>
                  <a:pt x="153293" y="-4912"/>
                  <a:pt x="138195" y="3848"/>
                </a:cubicBezTo>
                <a:cubicBezTo>
                  <a:pt x="125055" y="11570"/>
                  <a:pt x="113529" y="25517"/>
                  <a:pt x="105922" y="36582"/>
                </a:cubicBezTo>
                <a:cubicBezTo>
                  <a:pt x="89325" y="60671"/>
                  <a:pt x="66389" y="80842"/>
                  <a:pt x="35269" y="78075"/>
                </a:cubicBezTo>
                <a:cubicBezTo>
                  <a:pt x="17635" y="76462"/>
                  <a:pt x="6109" y="67356"/>
                  <a:pt x="0" y="54101"/>
                </a:cubicBezTo>
                <a:cubicBezTo>
                  <a:pt x="1614" y="104239"/>
                  <a:pt x="43222" y="144350"/>
                  <a:pt x="93935" y="143543"/>
                </a:cubicBezTo>
                <a:cubicBezTo>
                  <a:pt x="144764" y="142736"/>
                  <a:pt x="185105" y="101473"/>
                  <a:pt x="184874" y="50643"/>
                </a:cubicBezTo>
                <a:cubicBezTo>
                  <a:pt x="184874" y="39233"/>
                  <a:pt x="182684" y="28283"/>
                  <a:pt x="178881" y="18140"/>
                </a:cubicBezTo>
                <a:close/>
              </a:path>
            </a:pathLst>
          </a:custGeom>
          <a:solidFill>
            <a:srgbClr val="E0E1E3"/>
          </a:solidFill>
          <a:ln w="1152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endParaRPr lang="en-US" sz="1350"/>
          </a:p>
        </p:txBody>
      </p:sp>
      <p:grpSp>
        <p:nvGrpSpPr>
          <p:cNvPr id="39" name="Graphic 4">
            <a:extLst>
              <a:ext uri="{FF2B5EF4-FFF2-40B4-BE49-F238E27FC236}">
                <a16:creationId xmlns:a16="http://schemas.microsoft.com/office/drawing/2014/main" id="{C5A25621-BEE9-E284-6D58-5EAC25E41293}"/>
              </a:ext>
            </a:extLst>
          </p:cNvPr>
          <p:cNvGrpSpPr/>
          <p:nvPr/>
        </p:nvGrpSpPr>
        <p:grpSpPr>
          <a:xfrm>
            <a:off x="4704086" y="1390496"/>
            <a:ext cx="738336" cy="506996"/>
            <a:chOff x="7870284" y="213577"/>
            <a:chExt cx="170582" cy="117134"/>
          </a:xfrm>
          <a:solidFill>
            <a:srgbClr val="C4D5F4"/>
          </a:solidFill>
          <a:effectLst>
            <a:glow rad="228600">
              <a:srgbClr val="F41ED0">
                <a:alpha val="40000"/>
              </a:srgbClr>
            </a:glow>
          </a:effectLst>
        </p:grpSpPr>
        <p:sp>
          <p:nvSpPr>
            <p:cNvPr id="40" name="Freeform 107">
              <a:extLst>
                <a:ext uri="{FF2B5EF4-FFF2-40B4-BE49-F238E27FC236}">
                  <a16:creationId xmlns:a16="http://schemas.microsoft.com/office/drawing/2014/main" id="{22764974-98D4-3144-2040-9AB08356130B}"/>
                </a:ext>
              </a:extLst>
            </p:cNvPr>
            <p:cNvSpPr/>
            <p:nvPr/>
          </p:nvSpPr>
          <p:spPr>
            <a:xfrm>
              <a:off x="7870284" y="310903"/>
              <a:ext cx="1152" cy="598"/>
            </a:xfrm>
            <a:custGeom>
              <a:avLst/>
              <a:gdLst>
                <a:gd name="connsiteX0" fmla="*/ 0 w 1152"/>
                <a:gd name="connsiteY0" fmla="*/ 299 h 598"/>
                <a:gd name="connsiteX1" fmla="*/ 0 w 1152"/>
                <a:gd name="connsiteY1" fmla="*/ 299 h 598"/>
                <a:gd name="connsiteX2" fmla="*/ 0 w 1152"/>
                <a:gd name="connsiteY2" fmla="*/ 299 h 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2" h="598">
                  <a:moveTo>
                    <a:pt x="0" y="299"/>
                  </a:moveTo>
                  <a:cubicBezTo>
                    <a:pt x="0" y="-738"/>
                    <a:pt x="0" y="1337"/>
                    <a:pt x="0" y="299"/>
                  </a:cubicBezTo>
                  <a:lnTo>
                    <a:pt x="0" y="299"/>
                  </a:lnTo>
                  <a:close/>
                </a:path>
              </a:pathLst>
            </a:custGeom>
            <a:grpFill/>
            <a:ln w="115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41" name="Freeform 108">
              <a:extLst>
                <a:ext uri="{FF2B5EF4-FFF2-40B4-BE49-F238E27FC236}">
                  <a16:creationId xmlns:a16="http://schemas.microsoft.com/office/drawing/2014/main" id="{45F93694-820D-3A4E-C824-7B007BFC0A3C}"/>
                </a:ext>
              </a:extLst>
            </p:cNvPr>
            <p:cNvSpPr/>
            <p:nvPr/>
          </p:nvSpPr>
          <p:spPr>
            <a:xfrm>
              <a:off x="7871732" y="213577"/>
              <a:ext cx="169134" cy="117134"/>
            </a:xfrm>
            <a:custGeom>
              <a:avLst/>
              <a:gdLst>
                <a:gd name="connsiteX0" fmla="*/ 90989 w 169134"/>
                <a:gd name="connsiteY0" fmla="*/ 115 h 117134"/>
                <a:gd name="connsiteX1" fmla="*/ 973 w 169134"/>
                <a:gd name="connsiteY1" fmla="*/ 72614 h 117134"/>
                <a:gd name="connsiteX2" fmla="*/ 32323 w 169134"/>
                <a:gd name="connsiteY2" fmla="*/ 116759 h 117134"/>
                <a:gd name="connsiteX3" fmla="*/ 33821 w 169134"/>
                <a:gd name="connsiteY3" fmla="*/ 116874 h 117134"/>
                <a:gd name="connsiteX4" fmla="*/ 104474 w 169134"/>
                <a:gd name="connsiteY4" fmla="*/ 76302 h 117134"/>
                <a:gd name="connsiteX5" fmla="*/ 169134 w 169134"/>
                <a:gd name="connsiteY5" fmla="*/ 42070 h 117134"/>
                <a:gd name="connsiteX6" fmla="*/ 90989 w 169134"/>
                <a:gd name="connsiteY6" fmla="*/ 0 h 117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134" h="117134">
                  <a:moveTo>
                    <a:pt x="90989" y="115"/>
                  </a:moveTo>
                  <a:cubicBezTo>
                    <a:pt x="47191" y="115"/>
                    <a:pt x="10654" y="32042"/>
                    <a:pt x="973" y="72614"/>
                  </a:cubicBezTo>
                  <a:cubicBezTo>
                    <a:pt x="-3984" y="93476"/>
                    <a:pt x="10539" y="114338"/>
                    <a:pt x="32323" y="116759"/>
                  </a:cubicBezTo>
                  <a:cubicBezTo>
                    <a:pt x="32784" y="116759"/>
                    <a:pt x="33245" y="116759"/>
                    <a:pt x="33821" y="116874"/>
                  </a:cubicBezTo>
                  <a:cubicBezTo>
                    <a:pt x="64941" y="119640"/>
                    <a:pt x="87762" y="99931"/>
                    <a:pt x="104474" y="76302"/>
                  </a:cubicBezTo>
                  <a:cubicBezTo>
                    <a:pt x="118075" y="57054"/>
                    <a:pt x="144124" y="28815"/>
                    <a:pt x="169134" y="42070"/>
                  </a:cubicBezTo>
                  <a:cubicBezTo>
                    <a:pt x="152768" y="16828"/>
                    <a:pt x="123838" y="0"/>
                    <a:pt x="90989" y="0"/>
                  </a:cubicBezTo>
                  <a:close/>
                </a:path>
              </a:pathLst>
            </a:custGeom>
            <a:grpFill/>
            <a:ln w="115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43" name="Freeform 106">
            <a:extLst>
              <a:ext uri="{FF2B5EF4-FFF2-40B4-BE49-F238E27FC236}">
                <a16:creationId xmlns:a16="http://schemas.microsoft.com/office/drawing/2014/main" id="{B25FB89B-2C49-85E3-675E-E46F83ED5D03}"/>
              </a:ext>
            </a:extLst>
          </p:cNvPr>
          <p:cNvSpPr/>
          <p:nvPr/>
        </p:nvSpPr>
        <p:spPr>
          <a:xfrm>
            <a:off x="4703587" y="1578887"/>
            <a:ext cx="800201" cy="621354"/>
          </a:xfrm>
          <a:custGeom>
            <a:avLst/>
            <a:gdLst>
              <a:gd name="connsiteX0" fmla="*/ 178881 w 184875"/>
              <a:gd name="connsiteY0" fmla="*/ 18140 h 143555"/>
              <a:gd name="connsiteX1" fmla="*/ 138195 w 184875"/>
              <a:gd name="connsiteY1" fmla="*/ 3848 h 143555"/>
              <a:gd name="connsiteX2" fmla="*/ 105922 w 184875"/>
              <a:gd name="connsiteY2" fmla="*/ 36582 h 143555"/>
              <a:gd name="connsiteX3" fmla="*/ 35269 w 184875"/>
              <a:gd name="connsiteY3" fmla="*/ 78075 h 143555"/>
              <a:gd name="connsiteX4" fmla="*/ 0 w 184875"/>
              <a:gd name="connsiteY4" fmla="*/ 54101 h 143555"/>
              <a:gd name="connsiteX5" fmla="*/ 93935 w 184875"/>
              <a:gd name="connsiteY5" fmla="*/ 143543 h 143555"/>
              <a:gd name="connsiteX6" fmla="*/ 184874 w 184875"/>
              <a:gd name="connsiteY6" fmla="*/ 50643 h 143555"/>
              <a:gd name="connsiteX7" fmla="*/ 178881 w 184875"/>
              <a:gd name="connsiteY7" fmla="*/ 18140 h 1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4875" h="143555">
                <a:moveTo>
                  <a:pt x="178881" y="18140"/>
                </a:moveTo>
                <a:cubicBezTo>
                  <a:pt x="172657" y="1888"/>
                  <a:pt x="153293" y="-4912"/>
                  <a:pt x="138195" y="3848"/>
                </a:cubicBezTo>
                <a:cubicBezTo>
                  <a:pt x="125055" y="11570"/>
                  <a:pt x="113529" y="25517"/>
                  <a:pt x="105922" y="36582"/>
                </a:cubicBezTo>
                <a:cubicBezTo>
                  <a:pt x="89325" y="60671"/>
                  <a:pt x="66389" y="80842"/>
                  <a:pt x="35269" y="78075"/>
                </a:cubicBezTo>
                <a:cubicBezTo>
                  <a:pt x="17635" y="76462"/>
                  <a:pt x="6109" y="67356"/>
                  <a:pt x="0" y="54101"/>
                </a:cubicBezTo>
                <a:cubicBezTo>
                  <a:pt x="1614" y="104239"/>
                  <a:pt x="43222" y="144350"/>
                  <a:pt x="93935" y="143543"/>
                </a:cubicBezTo>
                <a:cubicBezTo>
                  <a:pt x="144764" y="142736"/>
                  <a:pt x="185105" y="101473"/>
                  <a:pt x="184874" y="50643"/>
                </a:cubicBezTo>
                <a:cubicBezTo>
                  <a:pt x="184874" y="39233"/>
                  <a:pt x="182684" y="28283"/>
                  <a:pt x="178881" y="18140"/>
                </a:cubicBezTo>
                <a:close/>
              </a:path>
            </a:pathLst>
          </a:custGeom>
          <a:solidFill>
            <a:srgbClr val="E0E1E3"/>
          </a:solidFill>
          <a:ln w="1152" cap="flat">
            <a:solidFill>
              <a:schemeClr val="accent1"/>
            </a:solidFill>
            <a:prstDash val="solid"/>
            <a:miter/>
          </a:ln>
          <a:effectLst>
            <a:glow rad="228600">
              <a:srgbClr val="F41ED0">
                <a:alpha val="40000"/>
              </a:srgbClr>
            </a:glow>
          </a:effectLst>
        </p:spPr>
        <p:txBody>
          <a:bodyPr rtlCol="0" anchor="ctr"/>
          <a:lstStyle/>
          <a:p>
            <a:endParaRPr lang="en-US" sz="1350"/>
          </a:p>
        </p:txBody>
      </p:sp>
      <p:grpSp>
        <p:nvGrpSpPr>
          <p:cNvPr id="44" name="Graphic 4">
            <a:extLst>
              <a:ext uri="{FF2B5EF4-FFF2-40B4-BE49-F238E27FC236}">
                <a16:creationId xmlns:a16="http://schemas.microsoft.com/office/drawing/2014/main" id="{52C17D0A-4D1A-A94F-20E9-427FD8EE2367}"/>
              </a:ext>
            </a:extLst>
          </p:cNvPr>
          <p:cNvGrpSpPr/>
          <p:nvPr/>
        </p:nvGrpSpPr>
        <p:grpSpPr>
          <a:xfrm>
            <a:off x="3668419" y="3896900"/>
            <a:ext cx="737834" cy="506991"/>
            <a:chOff x="7631008" y="792646"/>
            <a:chExt cx="170466" cy="117133"/>
          </a:xfrm>
          <a:solidFill>
            <a:schemeClr val="accent1">
              <a:lumMod val="60000"/>
              <a:lumOff val="40000"/>
            </a:schemeClr>
          </a:solidFill>
          <a:effectLst>
            <a:glow rad="228600">
              <a:srgbClr val="F41ED0">
                <a:alpha val="40000"/>
              </a:srgbClr>
            </a:glow>
          </a:effectLst>
        </p:grpSpPr>
        <p:sp>
          <p:nvSpPr>
            <p:cNvPr id="45" name="Freeform 103">
              <a:extLst>
                <a:ext uri="{FF2B5EF4-FFF2-40B4-BE49-F238E27FC236}">
                  <a16:creationId xmlns:a16="http://schemas.microsoft.com/office/drawing/2014/main" id="{CCBA9186-4CF3-A683-43BA-C8CE760350CE}"/>
                </a:ext>
              </a:extLst>
            </p:cNvPr>
            <p:cNvSpPr/>
            <p:nvPr/>
          </p:nvSpPr>
          <p:spPr>
            <a:xfrm>
              <a:off x="7631008" y="889972"/>
              <a:ext cx="0" cy="598"/>
            </a:xfrm>
            <a:custGeom>
              <a:avLst/>
              <a:gdLst>
                <a:gd name="connsiteX0" fmla="*/ 0 w 0"/>
                <a:gd name="connsiteY0" fmla="*/ 299 h 598"/>
                <a:gd name="connsiteX1" fmla="*/ 0 w 0"/>
                <a:gd name="connsiteY1" fmla="*/ 299 h 598"/>
                <a:gd name="connsiteX2" fmla="*/ 0 w 0"/>
                <a:gd name="connsiteY2" fmla="*/ 299 h 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h="598">
                  <a:moveTo>
                    <a:pt x="0" y="299"/>
                  </a:moveTo>
                  <a:cubicBezTo>
                    <a:pt x="0" y="-738"/>
                    <a:pt x="0" y="1337"/>
                    <a:pt x="0" y="299"/>
                  </a:cubicBezTo>
                  <a:lnTo>
                    <a:pt x="0" y="299"/>
                  </a:lnTo>
                  <a:close/>
                </a:path>
              </a:pathLst>
            </a:custGeom>
            <a:grpFill/>
            <a:ln w="115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46" name="Freeform 104">
              <a:extLst>
                <a:ext uri="{FF2B5EF4-FFF2-40B4-BE49-F238E27FC236}">
                  <a16:creationId xmlns:a16="http://schemas.microsoft.com/office/drawing/2014/main" id="{2FE59771-B402-6676-E1DB-4E2F0FEDB284}"/>
                </a:ext>
              </a:extLst>
            </p:cNvPr>
            <p:cNvSpPr/>
            <p:nvPr/>
          </p:nvSpPr>
          <p:spPr>
            <a:xfrm>
              <a:off x="7632341" y="792646"/>
              <a:ext cx="169134" cy="117133"/>
            </a:xfrm>
            <a:custGeom>
              <a:avLst/>
              <a:gdLst>
                <a:gd name="connsiteX0" fmla="*/ 90989 w 169134"/>
                <a:gd name="connsiteY0" fmla="*/ 115 h 117133"/>
                <a:gd name="connsiteX1" fmla="*/ 973 w 169134"/>
                <a:gd name="connsiteY1" fmla="*/ 72614 h 117133"/>
                <a:gd name="connsiteX2" fmla="*/ 32323 w 169134"/>
                <a:gd name="connsiteY2" fmla="*/ 116759 h 117133"/>
                <a:gd name="connsiteX3" fmla="*/ 33821 w 169134"/>
                <a:gd name="connsiteY3" fmla="*/ 116874 h 117133"/>
                <a:gd name="connsiteX4" fmla="*/ 104475 w 169134"/>
                <a:gd name="connsiteY4" fmla="*/ 76302 h 117133"/>
                <a:gd name="connsiteX5" fmla="*/ 169134 w 169134"/>
                <a:gd name="connsiteY5" fmla="*/ 42070 h 117133"/>
                <a:gd name="connsiteX6" fmla="*/ 90989 w 169134"/>
                <a:gd name="connsiteY6" fmla="*/ 0 h 11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134" h="117133">
                  <a:moveTo>
                    <a:pt x="90989" y="115"/>
                  </a:moveTo>
                  <a:cubicBezTo>
                    <a:pt x="47191" y="115"/>
                    <a:pt x="10654" y="32042"/>
                    <a:pt x="973" y="72614"/>
                  </a:cubicBezTo>
                  <a:cubicBezTo>
                    <a:pt x="-3984" y="93476"/>
                    <a:pt x="10539" y="114338"/>
                    <a:pt x="32323" y="116759"/>
                  </a:cubicBezTo>
                  <a:cubicBezTo>
                    <a:pt x="32784" y="116759"/>
                    <a:pt x="33245" y="116759"/>
                    <a:pt x="33821" y="116874"/>
                  </a:cubicBezTo>
                  <a:cubicBezTo>
                    <a:pt x="64941" y="119640"/>
                    <a:pt x="87762" y="99931"/>
                    <a:pt x="104475" y="76302"/>
                  </a:cubicBezTo>
                  <a:cubicBezTo>
                    <a:pt x="118075" y="57054"/>
                    <a:pt x="144123" y="28815"/>
                    <a:pt x="169134" y="42070"/>
                  </a:cubicBezTo>
                  <a:cubicBezTo>
                    <a:pt x="152768" y="16828"/>
                    <a:pt x="123838" y="0"/>
                    <a:pt x="90989" y="0"/>
                  </a:cubicBezTo>
                  <a:close/>
                </a:path>
              </a:pathLst>
            </a:custGeom>
            <a:grpFill/>
            <a:ln w="115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47" name="Freeform 102">
            <a:extLst>
              <a:ext uri="{FF2B5EF4-FFF2-40B4-BE49-F238E27FC236}">
                <a16:creationId xmlns:a16="http://schemas.microsoft.com/office/drawing/2014/main" id="{3E98ED6A-438E-FCD9-70DD-162CC7A4ED9F}"/>
              </a:ext>
            </a:extLst>
          </p:cNvPr>
          <p:cNvSpPr/>
          <p:nvPr/>
        </p:nvSpPr>
        <p:spPr>
          <a:xfrm>
            <a:off x="3667921" y="4085291"/>
            <a:ext cx="800201" cy="621354"/>
          </a:xfrm>
          <a:custGeom>
            <a:avLst/>
            <a:gdLst>
              <a:gd name="connsiteX0" fmla="*/ 178881 w 184875"/>
              <a:gd name="connsiteY0" fmla="*/ 18140 h 143555"/>
              <a:gd name="connsiteX1" fmla="*/ 138195 w 184875"/>
              <a:gd name="connsiteY1" fmla="*/ 3848 h 143555"/>
              <a:gd name="connsiteX2" fmla="*/ 105922 w 184875"/>
              <a:gd name="connsiteY2" fmla="*/ 36582 h 143555"/>
              <a:gd name="connsiteX3" fmla="*/ 35269 w 184875"/>
              <a:gd name="connsiteY3" fmla="*/ 78075 h 143555"/>
              <a:gd name="connsiteX4" fmla="*/ 0 w 184875"/>
              <a:gd name="connsiteY4" fmla="*/ 54101 h 143555"/>
              <a:gd name="connsiteX5" fmla="*/ 93935 w 184875"/>
              <a:gd name="connsiteY5" fmla="*/ 143543 h 143555"/>
              <a:gd name="connsiteX6" fmla="*/ 184874 w 184875"/>
              <a:gd name="connsiteY6" fmla="*/ 50643 h 143555"/>
              <a:gd name="connsiteX7" fmla="*/ 178881 w 184875"/>
              <a:gd name="connsiteY7" fmla="*/ 18140 h 1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4875" h="143555">
                <a:moveTo>
                  <a:pt x="178881" y="18140"/>
                </a:moveTo>
                <a:cubicBezTo>
                  <a:pt x="172657" y="1888"/>
                  <a:pt x="153293" y="-4912"/>
                  <a:pt x="138195" y="3848"/>
                </a:cubicBezTo>
                <a:cubicBezTo>
                  <a:pt x="125055" y="11570"/>
                  <a:pt x="113529" y="25517"/>
                  <a:pt x="105922" y="36582"/>
                </a:cubicBezTo>
                <a:cubicBezTo>
                  <a:pt x="89325" y="60671"/>
                  <a:pt x="66389" y="80842"/>
                  <a:pt x="35269" y="78075"/>
                </a:cubicBezTo>
                <a:cubicBezTo>
                  <a:pt x="17635" y="76462"/>
                  <a:pt x="6109" y="67356"/>
                  <a:pt x="0" y="54101"/>
                </a:cubicBezTo>
                <a:cubicBezTo>
                  <a:pt x="1614" y="104239"/>
                  <a:pt x="43222" y="144350"/>
                  <a:pt x="93935" y="143543"/>
                </a:cubicBezTo>
                <a:cubicBezTo>
                  <a:pt x="144764" y="142736"/>
                  <a:pt x="185105" y="101473"/>
                  <a:pt x="184874" y="50643"/>
                </a:cubicBezTo>
                <a:cubicBezTo>
                  <a:pt x="184874" y="39233"/>
                  <a:pt x="182684" y="28283"/>
                  <a:pt x="178881" y="18140"/>
                </a:cubicBezTo>
                <a:close/>
              </a:path>
            </a:pathLst>
          </a:custGeom>
          <a:solidFill>
            <a:srgbClr val="E0E1E3"/>
          </a:solidFill>
          <a:ln w="1152" cap="flat">
            <a:solidFill>
              <a:schemeClr val="accent1"/>
            </a:solidFill>
            <a:prstDash val="solid"/>
            <a:miter/>
          </a:ln>
          <a:effectLst>
            <a:glow rad="228600">
              <a:srgbClr val="F41ED0">
                <a:alpha val="40000"/>
              </a:srgbClr>
            </a:glow>
          </a:effectLst>
        </p:spPr>
        <p:txBody>
          <a:bodyPr rtlCol="0" anchor="ctr"/>
          <a:lstStyle/>
          <a:p>
            <a:endParaRPr lang="en-US" sz="1350"/>
          </a:p>
        </p:txBody>
      </p:sp>
      <p:grpSp>
        <p:nvGrpSpPr>
          <p:cNvPr id="48" name="Graphic 4">
            <a:extLst>
              <a:ext uri="{FF2B5EF4-FFF2-40B4-BE49-F238E27FC236}">
                <a16:creationId xmlns:a16="http://schemas.microsoft.com/office/drawing/2014/main" id="{3474E0E4-46B2-6938-9CB7-EC8566A477FC}"/>
              </a:ext>
            </a:extLst>
          </p:cNvPr>
          <p:cNvGrpSpPr/>
          <p:nvPr/>
        </p:nvGrpSpPr>
        <p:grpSpPr>
          <a:xfrm>
            <a:off x="4704086" y="3896900"/>
            <a:ext cx="738336" cy="506991"/>
            <a:chOff x="7870284" y="792646"/>
            <a:chExt cx="170582" cy="117133"/>
          </a:xfrm>
          <a:solidFill>
            <a:schemeClr val="accent5">
              <a:lumMod val="40000"/>
              <a:lumOff val="60000"/>
            </a:schemeClr>
          </a:solidFill>
          <a:effectLst>
            <a:glow rad="228600">
              <a:srgbClr val="F41ED0">
                <a:alpha val="40000"/>
              </a:srgbClr>
            </a:glow>
          </a:effectLst>
        </p:grpSpPr>
        <p:sp>
          <p:nvSpPr>
            <p:cNvPr id="49" name="Freeform 99">
              <a:extLst>
                <a:ext uri="{FF2B5EF4-FFF2-40B4-BE49-F238E27FC236}">
                  <a16:creationId xmlns:a16="http://schemas.microsoft.com/office/drawing/2014/main" id="{41763A5C-C9F6-DB08-C625-C6C515B75F2D}"/>
                </a:ext>
              </a:extLst>
            </p:cNvPr>
            <p:cNvSpPr/>
            <p:nvPr/>
          </p:nvSpPr>
          <p:spPr>
            <a:xfrm>
              <a:off x="7870284" y="889972"/>
              <a:ext cx="1152" cy="598"/>
            </a:xfrm>
            <a:custGeom>
              <a:avLst/>
              <a:gdLst>
                <a:gd name="connsiteX0" fmla="*/ 0 w 1152"/>
                <a:gd name="connsiteY0" fmla="*/ 299 h 598"/>
                <a:gd name="connsiteX1" fmla="*/ 0 w 1152"/>
                <a:gd name="connsiteY1" fmla="*/ 299 h 598"/>
                <a:gd name="connsiteX2" fmla="*/ 0 w 1152"/>
                <a:gd name="connsiteY2" fmla="*/ 299 h 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2" h="598">
                  <a:moveTo>
                    <a:pt x="0" y="299"/>
                  </a:moveTo>
                  <a:cubicBezTo>
                    <a:pt x="0" y="-738"/>
                    <a:pt x="0" y="1337"/>
                    <a:pt x="0" y="299"/>
                  </a:cubicBezTo>
                  <a:lnTo>
                    <a:pt x="0" y="299"/>
                  </a:lnTo>
                  <a:close/>
                </a:path>
              </a:pathLst>
            </a:custGeom>
            <a:grpFill/>
            <a:ln w="115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50" name="Freeform 100">
              <a:extLst>
                <a:ext uri="{FF2B5EF4-FFF2-40B4-BE49-F238E27FC236}">
                  <a16:creationId xmlns:a16="http://schemas.microsoft.com/office/drawing/2014/main" id="{1029C276-E94E-A9A5-4588-479006640BA1}"/>
                </a:ext>
              </a:extLst>
            </p:cNvPr>
            <p:cNvSpPr/>
            <p:nvPr/>
          </p:nvSpPr>
          <p:spPr>
            <a:xfrm>
              <a:off x="7871732" y="792646"/>
              <a:ext cx="169134" cy="117133"/>
            </a:xfrm>
            <a:custGeom>
              <a:avLst/>
              <a:gdLst>
                <a:gd name="connsiteX0" fmla="*/ 90989 w 169134"/>
                <a:gd name="connsiteY0" fmla="*/ 115 h 117133"/>
                <a:gd name="connsiteX1" fmla="*/ 973 w 169134"/>
                <a:gd name="connsiteY1" fmla="*/ 72614 h 117133"/>
                <a:gd name="connsiteX2" fmla="*/ 32323 w 169134"/>
                <a:gd name="connsiteY2" fmla="*/ 116759 h 117133"/>
                <a:gd name="connsiteX3" fmla="*/ 33821 w 169134"/>
                <a:gd name="connsiteY3" fmla="*/ 116874 h 117133"/>
                <a:gd name="connsiteX4" fmla="*/ 104474 w 169134"/>
                <a:gd name="connsiteY4" fmla="*/ 76302 h 117133"/>
                <a:gd name="connsiteX5" fmla="*/ 169134 w 169134"/>
                <a:gd name="connsiteY5" fmla="*/ 42070 h 117133"/>
                <a:gd name="connsiteX6" fmla="*/ 90989 w 169134"/>
                <a:gd name="connsiteY6" fmla="*/ 0 h 11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134" h="117133">
                  <a:moveTo>
                    <a:pt x="90989" y="115"/>
                  </a:moveTo>
                  <a:cubicBezTo>
                    <a:pt x="47191" y="115"/>
                    <a:pt x="10654" y="32042"/>
                    <a:pt x="973" y="72614"/>
                  </a:cubicBezTo>
                  <a:cubicBezTo>
                    <a:pt x="-3984" y="93476"/>
                    <a:pt x="10539" y="114338"/>
                    <a:pt x="32323" y="116759"/>
                  </a:cubicBezTo>
                  <a:cubicBezTo>
                    <a:pt x="32784" y="116759"/>
                    <a:pt x="33245" y="116759"/>
                    <a:pt x="33821" y="116874"/>
                  </a:cubicBezTo>
                  <a:cubicBezTo>
                    <a:pt x="64941" y="119640"/>
                    <a:pt x="87762" y="99931"/>
                    <a:pt x="104474" y="76302"/>
                  </a:cubicBezTo>
                  <a:cubicBezTo>
                    <a:pt x="118075" y="57054"/>
                    <a:pt x="144124" y="28815"/>
                    <a:pt x="169134" y="42070"/>
                  </a:cubicBezTo>
                  <a:cubicBezTo>
                    <a:pt x="152768" y="16828"/>
                    <a:pt x="123838" y="0"/>
                    <a:pt x="90989" y="0"/>
                  </a:cubicBezTo>
                  <a:close/>
                </a:path>
              </a:pathLst>
            </a:custGeom>
            <a:grpFill/>
            <a:ln w="115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51" name="Freeform 98">
            <a:extLst>
              <a:ext uri="{FF2B5EF4-FFF2-40B4-BE49-F238E27FC236}">
                <a16:creationId xmlns:a16="http://schemas.microsoft.com/office/drawing/2014/main" id="{633F50AA-E0B1-F35F-DFF8-CDFEED569195}"/>
              </a:ext>
            </a:extLst>
          </p:cNvPr>
          <p:cNvSpPr/>
          <p:nvPr/>
        </p:nvSpPr>
        <p:spPr>
          <a:xfrm>
            <a:off x="4703587" y="4085291"/>
            <a:ext cx="800201" cy="621354"/>
          </a:xfrm>
          <a:custGeom>
            <a:avLst/>
            <a:gdLst>
              <a:gd name="connsiteX0" fmla="*/ 178881 w 184875"/>
              <a:gd name="connsiteY0" fmla="*/ 18140 h 143555"/>
              <a:gd name="connsiteX1" fmla="*/ 138195 w 184875"/>
              <a:gd name="connsiteY1" fmla="*/ 3848 h 143555"/>
              <a:gd name="connsiteX2" fmla="*/ 105922 w 184875"/>
              <a:gd name="connsiteY2" fmla="*/ 36582 h 143555"/>
              <a:gd name="connsiteX3" fmla="*/ 35269 w 184875"/>
              <a:gd name="connsiteY3" fmla="*/ 78075 h 143555"/>
              <a:gd name="connsiteX4" fmla="*/ 0 w 184875"/>
              <a:gd name="connsiteY4" fmla="*/ 54101 h 143555"/>
              <a:gd name="connsiteX5" fmla="*/ 93935 w 184875"/>
              <a:gd name="connsiteY5" fmla="*/ 143543 h 143555"/>
              <a:gd name="connsiteX6" fmla="*/ 184874 w 184875"/>
              <a:gd name="connsiteY6" fmla="*/ 50643 h 143555"/>
              <a:gd name="connsiteX7" fmla="*/ 178881 w 184875"/>
              <a:gd name="connsiteY7" fmla="*/ 18140 h 1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4875" h="143555">
                <a:moveTo>
                  <a:pt x="178881" y="18140"/>
                </a:moveTo>
                <a:cubicBezTo>
                  <a:pt x="172657" y="1888"/>
                  <a:pt x="153293" y="-4912"/>
                  <a:pt x="138195" y="3848"/>
                </a:cubicBezTo>
                <a:cubicBezTo>
                  <a:pt x="125055" y="11570"/>
                  <a:pt x="113529" y="25517"/>
                  <a:pt x="105922" y="36582"/>
                </a:cubicBezTo>
                <a:cubicBezTo>
                  <a:pt x="89325" y="60671"/>
                  <a:pt x="66389" y="80842"/>
                  <a:pt x="35269" y="78075"/>
                </a:cubicBezTo>
                <a:cubicBezTo>
                  <a:pt x="17635" y="76462"/>
                  <a:pt x="6109" y="67356"/>
                  <a:pt x="0" y="54101"/>
                </a:cubicBezTo>
                <a:cubicBezTo>
                  <a:pt x="1614" y="104239"/>
                  <a:pt x="43222" y="144350"/>
                  <a:pt x="93935" y="143543"/>
                </a:cubicBezTo>
                <a:cubicBezTo>
                  <a:pt x="144764" y="142736"/>
                  <a:pt x="185105" y="101473"/>
                  <a:pt x="184874" y="50643"/>
                </a:cubicBezTo>
                <a:cubicBezTo>
                  <a:pt x="184874" y="39233"/>
                  <a:pt x="182684" y="28283"/>
                  <a:pt x="178881" y="18140"/>
                </a:cubicBezTo>
                <a:close/>
              </a:path>
            </a:pathLst>
          </a:custGeom>
          <a:solidFill>
            <a:srgbClr val="E0E1E3"/>
          </a:solidFill>
          <a:ln w="1152" cap="flat">
            <a:solidFill>
              <a:schemeClr val="accent1"/>
            </a:solidFill>
            <a:prstDash val="solid"/>
            <a:miter/>
          </a:ln>
          <a:effectLst>
            <a:glow rad="228600">
              <a:srgbClr val="F41ED0">
                <a:alpha val="40000"/>
              </a:srgbClr>
            </a:glow>
          </a:effectLst>
        </p:spPr>
        <p:txBody>
          <a:bodyPr rtlCol="0" anchor="ctr"/>
          <a:lstStyle/>
          <a:p>
            <a:endParaRPr lang="en-US" sz="1350"/>
          </a:p>
        </p:txBody>
      </p:sp>
      <p:grpSp>
        <p:nvGrpSpPr>
          <p:cNvPr id="52" name="Graphic 4">
            <a:extLst>
              <a:ext uri="{FF2B5EF4-FFF2-40B4-BE49-F238E27FC236}">
                <a16:creationId xmlns:a16="http://schemas.microsoft.com/office/drawing/2014/main" id="{ACCCFD05-ABF7-8001-A7BA-BDA2B71829E6}"/>
              </a:ext>
            </a:extLst>
          </p:cNvPr>
          <p:cNvGrpSpPr/>
          <p:nvPr/>
        </p:nvGrpSpPr>
        <p:grpSpPr>
          <a:xfrm>
            <a:off x="5431449" y="2126854"/>
            <a:ext cx="738336" cy="506991"/>
            <a:chOff x="8038331" y="383702"/>
            <a:chExt cx="170582" cy="117133"/>
          </a:xfrm>
          <a:solidFill>
            <a:srgbClr val="C8F8F0"/>
          </a:solidFill>
          <a:effectLst>
            <a:glow rad="228600">
              <a:srgbClr val="F41ED0">
                <a:alpha val="40000"/>
              </a:srgbClr>
            </a:glow>
          </a:effectLst>
        </p:grpSpPr>
        <p:sp>
          <p:nvSpPr>
            <p:cNvPr id="53" name="Freeform 95">
              <a:extLst>
                <a:ext uri="{FF2B5EF4-FFF2-40B4-BE49-F238E27FC236}">
                  <a16:creationId xmlns:a16="http://schemas.microsoft.com/office/drawing/2014/main" id="{F179C6BA-4E5F-15D9-7FB5-8F56E99980A0}"/>
                </a:ext>
              </a:extLst>
            </p:cNvPr>
            <p:cNvSpPr/>
            <p:nvPr/>
          </p:nvSpPr>
          <p:spPr>
            <a:xfrm>
              <a:off x="8038331" y="481028"/>
              <a:ext cx="1152" cy="598"/>
            </a:xfrm>
            <a:custGeom>
              <a:avLst/>
              <a:gdLst>
                <a:gd name="connsiteX0" fmla="*/ 0 w 1152"/>
                <a:gd name="connsiteY0" fmla="*/ 299 h 598"/>
                <a:gd name="connsiteX1" fmla="*/ 0 w 1152"/>
                <a:gd name="connsiteY1" fmla="*/ 299 h 598"/>
                <a:gd name="connsiteX2" fmla="*/ 0 w 1152"/>
                <a:gd name="connsiteY2" fmla="*/ 299 h 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2" h="598">
                  <a:moveTo>
                    <a:pt x="0" y="299"/>
                  </a:moveTo>
                  <a:cubicBezTo>
                    <a:pt x="0" y="-738"/>
                    <a:pt x="0" y="1337"/>
                    <a:pt x="0" y="299"/>
                  </a:cubicBezTo>
                  <a:lnTo>
                    <a:pt x="0" y="299"/>
                  </a:lnTo>
                  <a:close/>
                </a:path>
              </a:pathLst>
            </a:custGeom>
            <a:grpFill/>
            <a:ln w="115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54" name="Freeform 96">
              <a:extLst>
                <a:ext uri="{FF2B5EF4-FFF2-40B4-BE49-F238E27FC236}">
                  <a16:creationId xmlns:a16="http://schemas.microsoft.com/office/drawing/2014/main" id="{C842111A-8A1C-41BB-E968-79D7CD233930}"/>
                </a:ext>
              </a:extLst>
            </p:cNvPr>
            <p:cNvSpPr/>
            <p:nvPr/>
          </p:nvSpPr>
          <p:spPr>
            <a:xfrm>
              <a:off x="8039778" y="383702"/>
              <a:ext cx="169134" cy="117133"/>
            </a:xfrm>
            <a:custGeom>
              <a:avLst/>
              <a:gdLst>
                <a:gd name="connsiteX0" fmla="*/ 90989 w 169134"/>
                <a:gd name="connsiteY0" fmla="*/ 115 h 117133"/>
                <a:gd name="connsiteX1" fmla="*/ 972 w 169134"/>
                <a:gd name="connsiteY1" fmla="*/ 72614 h 117133"/>
                <a:gd name="connsiteX2" fmla="*/ 32323 w 169134"/>
                <a:gd name="connsiteY2" fmla="*/ 116759 h 117133"/>
                <a:gd name="connsiteX3" fmla="*/ 33821 w 169134"/>
                <a:gd name="connsiteY3" fmla="*/ 116874 h 117133"/>
                <a:gd name="connsiteX4" fmla="*/ 104475 w 169134"/>
                <a:gd name="connsiteY4" fmla="*/ 76302 h 117133"/>
                <a:gd name="connsiteX5" fmla="*/ 169135 w 169134"/>
                <a:gd name="connsiteY5" fmla="*/ 42070 h 117133"/>
                <a:gd name="connsiteX6" fmla="*/ 90989 w 169134"/>
                <a:gd name="connsiteY6" fmla="*/ 0 h 11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134" h="117133">
                  <a:moveTo>
                    <a:pt x="90989" y="115"/>
                  </a:moveTo>
                  <a:cubicBezTo>
                    <a:pt x="47191" y="115"/>
                    <a:pt x="10655" y="32042"/>
                    <a:pt x="972" y="72614"/>
                  </a:cubicBezTo>
                  <a:cubicBezTo>
                    <a:pt x="-3983" y="93476"/>
                    <a:pt x="10539" y="114338"/>
                    <a:pt x="32323" y="116759"/>
                  </a:cubicBezTo>
                  <a:cubicBezTo>
                    <a:pt x="32784" y="116759"/>
                    <a:pt x="33245" y="116759"/>
                    <a:pt x="33821" y="116874"/>
                  </a:cubicBezTo>
                  <a:cubicBezTo>
                    <a:pt x="64941" y="119640"/>
                    <a:pt x="87762" y="99931"/>
                    <a:pt x="104475" y="76302"/>
                  </a:cubicBezTo>
                  <a:cubicBezTo>
                    <a:pt x="118075" y="57054"/>
                    <a:pt x="144123" y="28815"/>
                    <a:pt x="169135" y="42070"/>
                  </a:cubicBezTo>
                  <a:cubicBezTo>
                    <a:pt x="152768" y="16828"/>
                    <a:pt x="123838" y="0"/>
                    <a:pt x="90989" y="0"/>
                  </a:cubicBezTo>
                  <a:close/>
                </a:path>
              </a:pathLst>
            </a:custGeom>
            <a:grpFill/>
            <a:ln w="115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57" name="Freeform 94">
            <a:extLst>
              <a:ext uri="{FF2B5EF4-FFF2-40B4-BE49-F238E27FC236}">
                <a16:creationId xmlns:a16="http://schemas.microsoft.com/office/drawing/2014/main" id="{E61BB47D-116F-81C9-DD66-F130A19D2B77}"/>
              </a:ext>
            </a:extLst>
          </p:cNvPr>
          <p:cNvSpPr/>
          <p:nvPr/>
        </p:nvSpPr>
        <p:spPr>
          <a:xfrm>
            <a:off x="5431449" y="2315240"/>
            <a:ext cx="800201" cy="621354"/>
          </a:xfrm>
          <a:custGeom>
            <a:avLst/>
            <a:gdLst>
              <a:gd name="connsiteX0" fmla="*/ 178880 w 184875"/>
              <a:gd name="connsiteY0" fmla="*/ 18140 h 143555"/>
              <a:gd name="connsiteX1" fmla="*/ 138195 w 184875"/>
              <a:gd name="connsiteY1" fmla="*/ 3848 h 143555"/>
              <a:gd name="connsiteX2" fmla="*/ 105922 w 184875"/>
              <a:gd name="connsiteY2" fmla="*/ 36582 h 143555"/>
              <a:gd name="connsiteX3" fmla="*/ 35269 w 184875"/>
              <a:gd name="connsiteY3" fmla="*/ 78075 h 143555"/>
              <a:gd name="connsiteX4" fmla="*/ 0 w 184875"/>
              <a:gd name="connsiteY4" fmla="*/ 54101 h 143555"/>
              <a:gd name="connsiteX5" fmla="*/ 93935 w 184875"/>
              <a:gd name="connsiteY5" fmla="*/ 143543 h 143555"/>
              <a:gd name="connsiteX6" fmla="*/ 184874 w 184875"/>
              <a:gd name="connsiteY6" fmla="*/ 50643 h 143555"/>
              <a:gd name="connsiteX7" fmla="*/ 178880 w 184875"/>
              <a:gd name="connsiteY7" fmla="*/ 18140 h 1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4875" h="143555">
                <a:moveTo>
                  <a:pt x="178880" y="18140"/>
                </a:moveTo>
                <a:cubicBezTo>
                  <a:pt x="172657" y="1888"/>
                  <a:pt x="153293" y="-4912"/>
                  <a:pt x="138195" y="3848"/>
                </a:cubicBezTo>
                <a:cubicBezTo>
                  <a:pt x="125055" y="11570"/>
                  <a:pt x="113529" y="25517"/>
                  <a:pt x="105922" y="36582"/>
                </a:cubicBezTo>
                <a:cubicBezTo>
                  <a:pt x="89325" y="60671"/>
                  <a:pt x="66388" y="80842"/>
                  <a:pt x="35269" y="78075"/>
                </a:cubicBezTo>
                <a:cubicBezTo>
                  <a:pt x="17634" y="76462"/>
                  <a:pt x="6108" y="67356"/>
                  <a:pt x="0" y="54101"/>
                </a:cubicBezTo>
                <a:cubicBezTo>
                  <a:pt x="1614" y="104239"/>
                  <a:pt x="43222" y="144350"/>
                  <a:pt x="93935" y="143543"/>
                </a:cubicBezTo>
                <a:cubicBezTo>
                  <a:pt x="144764" y="142736"/>
                  <a:pt x="185104" y="101473"/>
                  <a:pt x="184874" y="50643"/>
                </a:cubicBezTo>
                <a:cubicBezTo>
                  <a:pt x="184874" y="39233"/>
                  <a:pt x="182684" y="28283"/>
                  <a:pt x="178880" y="18140"/>
                </a:cubicBezTo>
                <a:close/>
              </a:path>
            </a:pathLst>
          </a:custGeom>
          <a:solidFill>
            <a:srgbClr val="E0E1E3"/>
          </a:solidFill>
          <a:ln w="1152" cap="flat">
            <a:solidFill>
              <a:schemeClr val="accent1"/>
            </a:solidFill>
            <a:prstDash val="solid"/>
            <a:miter/>
          </a:ln>
          <a:effectLst>
            <a:glow rad="228600">
              <a:srgbClr val="F41ED0">
                <a:alpha val="40000"/>
              </a:srgbClr>
            </a:glow>
          </a:effectLst>
        </p:spPr>
        <p:txBody>
          <a:bodyPr rtlCol="0" anchor="ctr"/>
          <a:lstStyle/>
          <a:p>
            <a:endParaRPr lang="en-US" sz="1350"/>
          </a:p>
        </p:txBody>
      </p:sp>
      <p:grpSp>
        <p:nvGrpSpPr>
          <p:cNvPr id="60" name="Graphic 4">
            <a:extLst>
              <a:ext uri="{FF2B5EF4-FFF2-40B4-BE49-F238E27FC236}">
                <a16:creationId xmlns:a16="http://schemas.microsoft.com/office/drawing/2014/main" id="{F39B3A17-5640-7E29-533E-46C37F562250}"/>
              </a:ext>
            </a:extLst>
          </p:cNvPr>
          <p:cNvGrpSpPr/>
          <p:nvPr/>
        </p:nvGrpSpPr>
        <p:grpSpPr>
          <a:xfrm>
            <a:off x="5431449" y="3158050"/>
            <a:ext cx="738336" cy="506995"/>
            <a:chOff x="8038331" y="621945"/>
            <a:chExt cx="170582" cy="117134"/>
          </a:xfrm>
          <a:solidFill>
            <a:schemeClr val="accent6">
              <a:lumMod val="40000"/>
              <a:lumOff val="60000"/>
            </a:schemeClr>
          </a:solidFill>
          <a:effectLst>
            <a:glow rad="228600">
              <a:srgbClr val="F41ED0">
                <a:alpha val="40000"/>
              </a:srgbClr>
            </a:glow>
          </a:effectLst>
        </p:grpSpPr>
        <p:sp>
          <p:nvSpPr>
            <p:cNvPr id="63" name="Freeform 91">
              <a:extLst>
                <a:ext uri="{FF2B5EF4-FFF2-40B4-BE49-F238E27FC236}">
                  <a16:creationId xmlns:a16="http://schemas.microsoft.com/office/drawing/2014/main" id="{0B460AEF-2AC0-9752-B0BD-463181253870}"/>
                </a:ext>
              </a:extLst>
            </p:cNvPr>
            <p:cNvSpPr/>
            <p:nvPr/>
          </p:nvSpPr>
          <p:spPr>
            <a:xfrm>
              <a:off x="8038331" y="719271"/>
              <a:ext cx="1152" cy="598"/>
            </a:xfrm>
            <a:custGeom>
              <a:avLst/>
              <a:gdLst>
                <a:gd name="connsiteX0" fmla="*/ 0 w 1152"/>
                <a:gd name="connsiteY0" fmla="*/ 299 h 598"/>
                <a:gd name="connsiteX1" fmla="*/ 0 w 1152"/>
                <a:gd name="connsiteY1" fmla="*/ 299 h 598"/>
                <a:gd name="connsiteX2" fmla="*/ 0 w 1152"/>
                <a:gd name="connsiteY2" fmla="*/ 299 h 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2" h="598">
                  <a:moveTo>
                    <a:pt x="0" y="299"/>
                  </a:moveTo>
                  <a:cubicBezTo>
                    <a:pt x="0" y="-738"/>
                    <a:pt x="0" y="1337"/>
                    <a:pt x="0" y="299"/>
                  </a:cubicBezTo>
                  <a:lnTo>
                    <a:pt x="0" y="299"/>
                  </a:lnTo>
                  <a:close/>
                </a:path>
              </a:pathLst>
            </a:custGeom>
            <a:grpFill/>
            <a:ln w="115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66" name="Freeform 92">
              <a:extLst>
                <a:ext uri="{FF2B5EF4-FFF2-40B4-BE49-F238E27FC236}">
                  <a16:creationId xmlns:a16="http://schemas.microsoft.com/office/drawing/2014/main" id="{DF89750C-2E1D-CAC2-B719-D879550F2979}"/>
                </a:ext>
              </a:extLst>
            </p:cNvPr>
            <p:cNvSpPr/>
            <p:nvPr/>
          </p:nvSpPr>
          <p:spPr>
            <a:xfrm>
              <a:off x="8039778" y="621945"/>
              <a:ext cx="169134" cy="117134"/>
            </a:xfrm>
            <a:custGeom>
              <a:avLst/>
              <a:gdLst>
                <a:gd name="connsiteX0" fmla="*/ 90989 w 169134"/>
                <a:gd name="connsiteY0" fmla="*/ 115 h 117134"/>
                <a:gd name="connsiteX1" fmla="*/ 972 w 169134"/>
                <a:gd name="connsiteY1" fmla="*/ 72614 h 117134"/>
                <a:gd name="connsiteX2" fmla="*/ 32323 w 169134"/>
                <a:gd name="connsiteY2" fmla="*/ 116759 h 117134"/>
                <a:gd name="connsiteX3" fmla="*/ 33821 w 169134"/>
                <a:gd name="connsiteY3" fmla="*/ 116874 h 117134"/>
                <a:gd name="connsiteX4" fmla="*/ 104475 w 169134"/>
                <a:gd name="connsiteY4" fmla="*/ 76302 h 117134"/>
                <a:gd name="connsiteX5" fmla="*/ 169135 w 169134"/>
                <a:gd name="connsiteY5" fmla="*/ 42070 h 117134"/>
                <a:gd name="connsiteX6" fmla="*/ 90989 w 169134"/>
                <a:gd name="connsiteY6" fmla="*/ 0 h 117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134" h="117134">
                  <a:moveTo>
                    <a:pt x="90989" y="115"/>
                  </a:moveTo>
                  <a:cubicBezTo>
                    <a:pt x="47191" y="115"/>
                    <a:pt x="10655" y="32042"/>
                    <a:pt x="972" y="72614"/>
                  </a:cubicBezTo>
                  <a:cubicBezTo>
                    <a:pt x="-3983" y="93476"/>
                    <a:pt x="10539" y="114338"/>
                    <a:pt x="32323" y="116759"/>
                  </a:cubicBezTo>
                  <a:cubicBezTo>
                    <a:pt x="32784" y="116759"/>
                    <a:pt x="33245" y="116759"/>
                    <a:pt x="33821" y="116874"/>
                  </a:cubicBezTo>
                  <a:cubicBezTo>
                    <a:pt x="64941" y="119640"/>
                    <a:pt x="87762" y="99931"/>
                    <a:pt x="104475" y="76302"/>
                  </a:cubicBezTo>
                  <a:cubicBezTo>
                    <a:pt x="118075" y="57054"/>
                    <a:pt x="144123" y="28815"/>
                    <a:pt x="169135" y="42070"/>
                  </a:cubicBezTo>
                  <a:cubicBezTo>
                    <a:pt x="152768" y="16828"/>
                    <a:pt x="123838" y="0"/>
                    <a:pt x="90989" y="0"/>
                  </a:cubicBezTo>
                  <a:close/>
                </a:path>
              </a:pathLst>
            </a:custGeom>
            <a:grpFill/>
            <a:ln w="1152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69" name="Freeform 90">
            <a:extLst>
              <a:ext uri="{FF2B5EF4-FFF2-40B4-BE49-F238E27FC236}">
                <a16:creationId xmlns:a16="http://schemas.microsoft.com/office/drawing/2014/main" id="{55DB8E9A-17EF-B623-4630-6181070BCE6D}"/>
              </a:ext>
            </a:extLst>
          </p:cNvPr>
          <p:cNvSpPr/>
          <p:nvPr/>
        </p:nvSpPr>
        <p:spPr>
          <a:xfrm>
            <a:off x="5431449" y="3345938"/>
            <a:ext cx="800201" cy="621354"/>
          </a:xfrm>
          <a:custGeom>
            <a:avLst/>
            <a:gdLst>
              <a:gd name="connsiteX0" fmla="*/ 178880 w 184875"/>
              <a:gd name="connsiteY0" fmla="*/ 18140 h 143555"/>
              <a:gd name="connsiteX1" fmla="*/ 138195 w 184875"/>
              <a:gd name="connsiteY1" fmla="*/ 3848 h 143555"/>
              <a:gd name="connsiteX2" fmla="*/ 105922 w 184875"/>
              <a:gd name="connsiteY2" fmla="*/ 36582 h 143555"/>
              <a:gd name="connsiteX3" fmla="*/ 35269 w 184875"/>
              <a:gd name="connsiteY3" fmla="*/ 78075 h 143555"/>
              <a:gd name="connsiteX4" fmla="*/ 0 w 184875"/>
              <a:gd name="connsiteY4" fmla="*/ 54101 h 143555"/>
              <a:gd name="connsiteX5" fmla="*/ 93935 w 184875"/>
              <a:gd name="connsiteY5" fmla="*/ 143543 h 143555"/>
              <a:gd name="connsiteX6" fmla="*/ 184874 w 184875"/>
              <a:gd name="connsiteY6" fmla="*/ 50643 h 143555"/>
              <a:gd name="connsiteX7" fmla="*/ 178880 w 184875"/>
              <a:gd name="connsiteY7" fmla="*/ 18140 h 1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4875" h="143555">
                <a:moveTo>
                  <a:pt x="178880" y="18140"/>
                </a:moveTo>
                <a:cubicBezTo>
                  <a:pt x="172657" y="1888"/>
                  <a:pt x="153293" y="-4912"/>
                  <a:pt x="138195" y="3848"/>
                </a:cubicBezTo>
                <a:cubicBezTo>
                  <a:pt x="125055" y="11570"/>
                  <a:pt x="113529" y="25517"/>
                  <a:pt x="105922" y="36582"/>
                </a:cubicBezTo>
                <a:cubicBezTo>
                  <a:pt x="89325" y="60671"/>
                  <a:pt x="66388" y="80842"/>
                  <a:pt x="35269" y="78075"/>
                </a:cubicBezTo>
                <a:cubicBezTo>
                  <a:pt x="17634" y="76462"/>
                  <a:pt x="6108" y="67356"/>
                  <a:pt x="0" y="54101"/>
                </a:cubicBezTo>
                <a:cubicBezTo>
                  <a:pt x="1614" y="104239"/>
                  <a:pt x="43222" y="144350"/>
                  <a:pt x="93935" y="143543"/>
                </a:cubicBezTo>
                <a:cubicBezTo>
                  <a:pt x="144764" y="142736"/>
                  <a:pt x="185104" y="101473"/>
                  <a:pt x="184874" y="50643"/>
                </a:cubicBezTo>
                <a:cubicBezTo>
                  <a:pt x="184874" y="39233"/>
                  <a:pt x="182684" y="28283"/>
                  <a:pt x="178880" y="18140"/>
                </a:cubicBezTo>
                <a:close/>
              </a:path>
            </a:pathLst>
          </a:custGeom>
          <a:solidFill>
            <a:srgbClr val="E0E1E3"/>
          </a:solidFill>
          <a:ln w="1152" cap="flat">
            <a:solidFill>
              <a:schemeClr val="accent1"/>
            </a:solidFill>
            <a:prstDash val="solid"/>
            <a:miter/>
          </a:ln>
          <a:effectLst>
            <a:glow rad="228600">
              <a:srgbClr val="F41ED0">
                <a:alpha val="40000"/>
              </a:srgbClr>
            </a:glow>
          </a:effectLst>
        </p:spPr>
        <p:txBody>
          <a:bodyPr rtlCol="0" anchor="ctr"/>
          <a:lstStyle/>
          <a:p>
            <a:endParaRPr lang="en-US" sz="1350"/>
          </a:p>
        </p:txBody>
      </p:sp>
      <p:grpSp>
        <p:nvGrpSpPr>
          <p:cNvPr id="72" name="Graphic 4">
            <a:extLst>
              <a:ext uri="{FF2B5EF4-FFF2-40B4-BE49-F238E27FC236}">
                <a16:creationId xmlns:a16="http://schemas.microsoft.com/office/drawing/2014/main" id="{B922EE11-6F91-73CA-7689-5E7BF589F9F8}"/>
              </a:ext>
            </a:extLst>
          </p:cNvPr>
          <p:cNvGrpSpPr/>
          <p:nvPr/>
        </p:nvGrpSpPr>
        <p:grpSpPr>
          <a:xfrm>
            <a:off x="2927590" y="2126854"/>
            <a:ext cx="738336" cy="506991"/>
            <a:chOff x="7459850" y="383702"/>
            <a:chExt cx="170582" cy="117133"/>
          </a:xfrm>
          <a:solidFill>
            <a:srgbClr val="FCD8ED"/>
          </a:solidFill>
          <a:effectLst/>
        </p:grpSpPr>
        <p:sp>
          <p:nvSpPr>
            <p:cNvPr id="75" name="Freeform 87">
              <a:extLst>
                <a:ext uri="{FF2B5EF4-FFF2-40B4-BE49-F238E27FC236}">
                  <a16:creationId xmlns:a16="http://schemas.microsoft.com/office/drawing/2014/main" id="{8665DA97-621B-8E30-5DBB-FA04333DA159}"/>
                </a:ext>
              </a:extLst>
            </p:cNvPr>
            <p:cNvSpPr/>
            <p:nvPr/>
          </p:nvSpPr>
          <p:spPr>
            <a:xfrm>
              <a:off x="7459850" y="481028"/>
              <a:ext cx="1152" cy="598"/>
            </a:xfrm>
            <a:custGeom>
              <a:avLst/>
              <a:gdLst>
                <a:gd name="connsiteX0" fmla="*/ 0 w 1152"/>
                <a:gd name="connsiteY0" fmla="*/ 299 h 598"/>
                <a:gd name="connsiteX1" fmla="*/ 0 w 1152"/>
                <a:gd name="connsiteY1" fmla="*/ 299 h 598"/>
                <a:gd name="connsiteX2" fmla="*/ 0 w 1152"/>
                <a:gd name="connsiteY2" fmla="*/ 299 h 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2" h="598">
                  <a:moveTo>
                    <a:pt x="0" y="299"/>
                  </a:moveTo>
                  <a:cubicBezTo>
                    <a:pt x="0" y="-738"/>
                    <a:pt x="0" y="1337"/>
                    <a:pt x="0" y="299"/>
                  </a:cubicBezTo>
                  <a:lnTo>
                    <a:pt x="0" y="299"/>
                  </a:ln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76" name="Freeform 88">
              <a:extLst>
                <a:ext uri="{FF2B5EF4-FFF2-40B4-BE49-F238E27FC236}">
                  <a16:creationId xmlns:a16="http://schemas.microsoft.com/office/drawing/2014/main" id="{C2942DCB-CFF5-42CD-7BFB-6702EC0A9DD0}"/>
                </a:ext>
              </a:extLst>
            </p:cNvPr>
            <p:cNvSpPr/>
            <p:nvPr/>
          </p:nvSpPr>
          <p:spPr>
            <a:xfrm>
              <a:off x="7461297" y="383702"/>
              <a:ext cx="169134" cy="117133"/>
            </a:xfrm>
            <a:custGeom>
              <a:avLst/>
              <a:gdLst>
                <a:gd name="connsiteX0" fmla="*/ 90989 w 169134"/>
                <a:gd name="connsiteY0" fmla="*/ 115 h 117133"/>
                <a:gd name="connsiteX1" fmla="*/ 972 w 169134"/>
                <a:gd name="connsiteY1" fmla="*/ 72614 h 117133"/>
                <a:gd name="connsiteX2" fmla="*/ 32323 w 169134"/>
                <a:gd name="connsiteY2" fmla="*/ 116759 h 117133"/>
                <a:gd name="connsiteX3" fmla="*/ 33821 w 169134"/>
                <a:gd name="connsiteY3" fmla="*/ 116874 h 117133"/>
                <a:gd name="connsiteX4" fmla="*/ 104474 w 169134"/>
                <a:gd name="connsiteY4" fmla="*/ 76302 h 117133"/>
                <a:gd name="connsiteX5" fmla="*/ 169134 w 169134"/>
                <a:gd name="connsiteY5" fmla="*/ 42070 h 117133"/>
                <a:gd name="connsiteX6" fmla="*/ 90989 w 169134"/>
                <a:gd name="connsiteY6" fmla="*/ 0 h 1171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134" h="117133">
                  <a:moveTo>
                    <a:pt x="90989" y="115"/>
                  </a:moveTo>
                  <a:cubicBezTo>
                    <a:pt x="47191" y="115"/>
                    <a:pt x="10654" y="32042"/>
                    <a:pt x="972" y="72614"/>
                  </a:cubicBezTo>
                  <a:cubicBezTo>
                    <a:pt x="-3983" y="93476"/>
                    <a:pt x="10539" y="114338"/>
                    <a:pt x="32323" y="116759"/>
                  </a:cubicBezTo>
                  <a:cubicBezTo>
                    <a:pt x="32784" y="116759"/>
                    <a:pt x="33245" y="116759"/>
                    <a:pt x="33821" y="116874"/>
                  </a:cubicBezTo>
                  <a:cubicBezTo>
                    <a:pt x="64941" y="119640"/>
                    <a:pt x="87762" y="99931"/>
                    <a:pt x="104474" y="76302"/>
                  </a:cubicBezTo>
                  <a:cubicBezTo>
                    <a:pt x="118075" y="57054"/>
                    <a:pt x="144123" y="28815"/>
                    <a:pt x="169134" y="42070"/>
                  </a:cubicBezTo>
                  <a:cubicBezTo>
                    <a:pt x="152768" y="16828"/>
                    <a:pt x="123838" y="0"/>
                    <a:pt x="90989" y="0"/>
                  </a:cubicBez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77" name="Freeform 86">
            <a:extLst>
              <a:ext uri="{FF2B5EF4-FFF2-40B4-BE49-F238E27FC236}">
                <a16:creationId xmlns:a16="http://schemas.microsoft.com/office/drawing/2014/main" id="{E48D50FC-E7DF-BB04-67B1-71B2EA08391F}"/>
              </a:ext>
            </a:extLst>
          </p:cNvPr>
          <p:cNvSpPr/>
          <p:nvPr/>
        </p:nvSpPr>
        <p:spPr>
          <a:xfrm>
            <a:off x="2927590" y="2315240"/>
            <a:ext cx="800201" cy="621354"/>
          </a:xfrm>
          <a:custGeom>
            <a:avLst/>
            <a:gdLst>
              <a:gd name="connsiteX0" fmla="*/ 178881 w 184875"/>
              <a:gd name="connsiteY0" fmla="*/ 18140 h 143555"/>
              <a:gd name="connsiteX1" fmla="*/ 138195 w 184875"/>
              <a:gd name="connsiteY1" fmla="*/ 3848 h 143555"/>
              <a:gd name="connsiteX2" fmla="*/ 105922 w 184875"/>
              <a:gd name="connsiteY2" fmla="*/ 36582 h 143555"/>
              <a:gd name="connsiteX3" fmla="*/ 35269 w 184875"/>
              <a:gd name="connsiteY3" fmla="*/ 78075 h 143555"/>
              <a:gd name="connsiteX4" fmla="*/ 0 w 184875"/>
              <a:gd name="connsiteY4" fmla="*/ 54101 h 143555"/>
              <a:gd name="connsiteX5" fmla="*/ 93935 w 184875"/>
              <a:gd name="connsiteY5" fmla="*/ 143543 h 143555"/>
              <a:gd name="connsiteX6" fmla="*/ 184874 w 184875"/>
              <a:gd name="connsiteY6" fmla="*/ 50643 h 143555"/>
              <a:gd name="connsiteX7" fmla="*/ 178881 w 184875"/>
              <a:gd name="connsiteY7" fmla="*/ 18140 h 1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4875" h="143555">
                <a:moveTo>
                  <a:pt x="178881" y="18140"/>
                </a:moveTo>
                <a:cubicBezTo>
                  <a:pt x="172657" y="1888"/>
                  <a:pt x="153293" y="-4912"/>
                  <a:pt x="138195" y="3848"/>
                </a:cubicBezTo>
                <a:cubicBezTo>
                  <a:pt x="125055" y="11570"/>
                  <a:pt x="113529" y="25517"/>
                  <a:pt x="105922" y="36582"/>
                </a:cubicBezTo>
                <a:cubicBezTo>
                  <a:pt x="89325" y="60671"/>
                  <a:pt x="66389" y="80842"/>
                  <a:pt x="35269" y="78075"/>
                </a:cubicBezTo>
                <a:cubicBezTo>
                  <a:pt x="17635" y="76462"/>
                  <a:pt x="6109" y="67356"/>
                  <a:pt x="0" y="54101"/>
                </a:cubicBezTo>
                <a:cubicBezTo>
                  <a:pt x="1614" y="104239"/>
                  <a:pt x="43222" y="144350"/>
                  <a:pt x="93935" y="143543"/>
                </a:cubicBezTo>
                <a:cubicBezTo>
                  <a:pt x="144764" y="142736"/>
                  <a:pt x="185105" y="101473"/>
                  <a:pt x="184874" y="50643"/>
                </a:cubicBezTo>
                <a:cubicBezTo>
                  <a:pt x="184874" y="39233"/>
                  <a:pt x="182684" y="28283"/>
                  <a:pt x="178881" y="18140"/>
                </a:cubicBezTo>
                <a:close/>
              </a:path>
            </a:pathLst>
          </a:custGeom>
          <a:solidFill>
            <a:srgbClr val="E0E1E3"/>
          </a:solidFill>
          <a:ln w="1152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endParaRPr lang="en-US" sz="1350"/>
          </a:p>
        </p:txBody>
      </p:sp>
      <p:grpSp>
        <p:nvGrpSpPr>
          <p:cNvPr id="78" name="Graphic 4">
            <a:extLst>
              <a:ext uri="{FF2B5EF4-FFF2-40B4-BE49-F238E27FC236}">
                <a16:creationId xmlns:a16="http://schemas.microsoft.com/office/drawing/2014/main" id="{C2BE660A-A1CD-E162-6C28-FBF6AADB34EA}"/>
              </a:ext>
            </a:extLst>
          </p:cNvPr>
          <p:cNvGrpSpPr/>
          <p:nvPr/>
        </p:nvGrpSpPr>
        <p:grpSpPr>
          <a:xfrm>
            <a:off x="2927590" y="3158050"/>
            <a:ext cx="738336" cy="506995"/>
            <a:chOff x="7459850" y="621945"/>
            <a:chExt cx="170582" cy="117134"/>
          </a:xfrm>
          <a:solidFill>
            <a:schemeClr val="accent3">
              <a:lumMod val="40000"/>
              <a:lumOff val="60000"/>
            </a:schemeClr>
          </a:solidFill>
          <a:effectLst/>
        </p:grpSpPr>
        <p:sp>
          <p:nvSpPr>
            <p:cNvPr id="79" name="Freeform 83">
              <a:extLst>
                <a:ext uri="{FF2B5EF4-FFF2-40B4-BE49-F238E27FC236}">
                  <a16:creationId xmlns:a16="http://schemas.microsoft.com/office/drawing/2014/main" id="{9ABB1A75-41A3-39B8-1F95-928491D0BF40}"/>
                </a:ext>
              </a:extLst>
            </p:cNvPr>
            <p:cNvSpPr/>
            <p:nvPr/>
          </p:nvSpPr>
          <p:spPr>
            <a:xfrm>
              <a:off x="7459850" y="719271"/>
              <a:ext cx="1152" cy="598"/>
            </a:xfrm>
            <a:custGeom>
              <a:avLst/>
              <a:gdLst>
                <a:gd name="connsiteX0" fmla="*/ 0 w 1152"/>
                <a:gd name="connsiteY0" fmla="*/ 299 h 598"/>
                <a:gd name="connsiteX1" fmla="*/ 0 w 1152"/>
                <a:gd name="connsiteY1" fmla="*/ 299 h 598"/>
                <a:gd name="connsiteX2" fmla="*/ 0 w 1152"/>
                <a:gd name="connsiteY2" fmla="*/ 299 h 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52" h="598">
                  <a:moveTo>
                    <a:pt x="0" y="299"/>
                  </a:moveTo>
                  <a:cubicBezTo>
                    <a:pt x="0" y="-738"/>
                    <a:pt x="0" y="1337"/>
                    <a:pt x="0" y="299"/>
                  </a:cubicBezTo>
                  <a:lnTo>
                    <a:pt x="0" y="299"/>
                  </a:ln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  <p:sp>
          <p:nvSpPr>
            <p:cNvPr id="80" name="Freeform 84">
              <a:extLst>
                <a:ext uri="{FF2B5EF4-FFF2-40B4-BE49-F238E27FC236}">
                  <a16:creationId xmlns:a16="http://schemas.microsoft.com/office/drawing/2014/main" id="{6F6746CA-34C0-406A-F0A6-6B44EA094CC6}"/>
                </a:ext>
              </a:extLst>
            </p:cNvPr>
            <p:cNvSpPr/>
            <p:nvPr/>
          </p:nvSpPr>
          <p:spPr>
            <a:xfrm>
              <a:off x="7461297" y="621945"/>
              <a:ext cx="169134" cy="117134"/>
            </a:xfrm>
            <a:custGeom>
              <a:avLst/>
              <a:gdLst>
                <a:gd name="connsiteX0" fmla="*/ 90989 w 169134"/>
                <a:gd name="connsiteY0" fmla="*/ 115 h 117134"/>
                <a:gd name="connsiteX1" fmla="*/ 972 w 169134"/>
                <a:gd name="connsiteY1" fmla="*/ 72614 h 117134"/>
                <a:gd name="connsiteX2" fmla="*/ 32323 w 169134"/>
                <a:gd name="connsiteY2" fmla="*/ 116759 h 117134"/>
                <a:gd name="connsiteX3" fmla="*/ 33821 w 169134"/>
                <a:gd name="connsiteY3" fmla="*/ 116874 h 117134"/>
                <a:gd name="connsiteX4" fmla="*/ 104474 w 169134"/>
                <a:gd name="connsiteY4" fmla="*/ 76302 h 117134"/>
                <a:gd name="connsiteX5" fmla="*/ 169134 w 169134"/>
                <a:gd name="connsiteY5" fmla="*/ 42070 h 117134"/>
                <a:gd name="connsiteX6" fmla="*/ 90989 w 169134"/>
                <a:gd name="connsiteY6" fmla="*/ 0 h 117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134" h="117134">
                  <a:moveTo>
                    <a:pt x="90989" y="115"/>
                  </a:moveTo>
                  <a:cubicBezTo>
                    <a:pt x="47191" y="115"/>
                    <a:pt x="10654" y="32042"/>
                    <a:pt x="972" y="72614"/>
                  </a:cubicBezTo>
                  <a:cubicBezTo>
                    <a:pt x="-3983" y="93476"/>
                    <a:pt x="10539" y="114338"/>
                    <a:pt x="32323" y="116759"/>
                  </a:cubicBezTo>
                  <a:cubicBezTo>
                    <a:pt x="32784" y="116759"/>
                    <a:pt x="33245" y="116759"/>
                    <a:pt x="33821" y="116874"/>
                  </a:cubicBezTo>
                  <a:cubicBezTo>
                    <a:pt x="64941" y="119640"/>
                    <a:pt x="87762" y="99931"/>
                    <a:pt x="104474" y="76302"/>
                  </a:cubicBezTo>
                  <a:cubicBezTo>
                    <a:pt x="118075" y="57054"/>
                    <a:pt x="144123" y="28815"/>
                    <a:pt x="169134" y="42070"/>
                  </a:cubicBezTo>
                  <a:cubicBezTo>
                    <a:pt x="152768" y="16828"/>
                    <a:pt x="123838" y="0"/>
                    <a:pt x="90989" y="0"/>
                  </a:cubicBezTo>
                  <a:close/>
                </a:path>
              </a:pathLst>
            </a:custGeom>
            <a:grpFill/>
            <a:ln w="1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350"/>
            </a:p>
          </p:txBody>
        </p:sp>
      </p:grpSp>
      <p:sp>
        <p:nvSpPr>
          <p:cNvPr id="81" name="Freeform 82">
            <a:extLst>
              <a:ext uri="{FF2B5EF4-FFF2-40B4-BE49-F238E27FC236}">
                <a16:creationId xmlns:a16="http://schemas.microsoft.com/office/drawing/2014/main" id="{BDA3C2CF-AFB0-6775-73EF-1F558D9C4CD9}"/>
              </a:ext>
            </a:extLst>
          </p:cNvPr>
          <p:cNvSpPr/>
          <p:nvPr/>
        </p:nvSpPr>
        <p:spPr>
          <a:xfrm>
            <a:off x="2927590" y="3345938"/>
            <a:ext cx="800201" cy="621354"/>
          </a:xfrm>
          <a:custGeom>
            <a:avLst/>
            <a:gdLst>
              <a:gd name="connsiteX0" fmla="*/ 178881 w 184875"/>
              <a:gd name="connsiteY0" fmla="*/ 18140 h 143555"/>
              <a:gd name="connsiteX1" fmla="*/ 138195 w 184875"/>
              <a:gd name="connsiteY1" fmla="*/ 3848 h 143555"/>
              <a:gd name="connsiteX2" fmla="*/ 105922 w 184875"/>
              <a:gd name="connsiteY2" fmla="*/ 36582 h 143555"/>
              <a:gd name="connsiteX3" fmla="*/ 35269 w 184875"/>
              <a:gd name="connsiteY3" fmla="*/ 78075 h 143555"/>
              <a:gd name="connsiteX4" fmla="*/ 0 w 184875"/>
              <a:gd name="connsiteY4" fmla="*/ 54101 h 143555"/>
              <a:gd name="connsiteX5" fmla="*/ 93935 w 184875"/>
              <a:gd name="connsiteY5" fmla="*/ 143543 h 143555"/>
              <a:gd name="connsiteX6" fmla="*/ 184874 w 184875"/>
              <a:gd name="connsiteY6" fmla="*/ 50643 h 143555"/>
              <a:gd name="connsiteX7" fmla="*/ 178881 w 184875"/>
              <a:gd name="connsiteY7" fmla="*/ 18140 h 143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4875" h="143555">
                <a:moveTo>
                  <a:pt x="178881" y="18140"/>
                </a:moveTo>
                <a:cubicBezTo>
                  <a:pt x="172657" y="1888"/>
                  <a:pt x="153293" y="-4912"/>
                  <a:pt x="138195" y="3848"/>
                </a:cubicBezTo>
                <a:cubicBezTo>
                  <a:pt x="125055" y="11570"/>
                  <a:pt x="113529" y="25517"/>
                  <a:pt x="105922" y="36582"/>
                </a:cubicBezTo>
                <a:cubicBezTo>
                  <a:pt x="89325" y="60671"/>
                  <a:pt x="66389" y="80842"/>
                  <a:pt x="35269" y="78075"/>
                </a:cubicBezTo>
                <a:cubicBezTo>
                  <a:pt x="17635" y="76462"/>
                  <a:pt x="6109" y="67356"/>
                  <a:pt x="0" y="54101"/>
                </a:cubicBezTo>
                <a:cubicBezTo>
                  <a:pt x="1614" y="104239"/>
                  <a:pt x="43222" y="144350"/>
                  <a:pt x="93935" y="143543"/>
                </a:cubicBezTo>
                <a:cubicBezTo>
                  <a:pt x="144764" y="142736"/>
                  <a:pt x="185105" y="101473"/>
                  <a:pt x="184874" y="50643"/>
                </a:cubicBezTo>
                <a:cubicBezTo>
                  <a:pt x="184874" y="39233"/>
                  <a:pt x="182684" y="28283"/>
                  <a:pt x="178881" y="18140"/>
                </a:cubicBezTo>
                <a:close/>
              </a:path>
            </a:pathLst>
          </a:custGeom>
          <a:solidFill>
            <a:srgbClr val="E0E1E3"/>
          </a:solidFill>
          <a:ln w="1152" cap="flat">
            <a:noFill/>
            <a:prstDash val="solid"/>
            <a:miter/>
          </a:ln>
          <a:effectLst/>
        </p:spPr>
        <p:txBody>
          <a:bodyPr rtlCol="0" anchor="ctr"/>
          <a:lstStyle/>
          <a:p>
            <a:endParaRPr lang="en-US" sz="1350"/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ECA4F9C-CAC6-99D0-C254-98158506509F}"/>
              </a:ext>
            </a:extLst>
          </p:cNvPr>
          <p:cNvSpPr txBox="1"/>
          <p:nvPr/>
        </p:nvSpPr>
        <p:spPr>
          <a:xfrm>
            <a:off x="4671096" y="1495203"/>
            <a:ext cx="515847" cy="3693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b="1" noProof="1">
                <a:solidFill>
                  <a:srgbClr val="7030A0"/>
                </a:solidFill>
              </a:rPr>
              <a:t>08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84395824-E28C-A693-504F-377F595B79F7}"/>
              </a:ext>
            </a:extLst>
          </p:cNvPr>
          <p:cNvSpPr txBox="1"/>
          <p:nvPr/>
        </p:nvSpPr>
        <p:spPr>
          <a:xfrm>
            <a:off x="5411760" y="2215293"/>
            <a:ext cx="515847" cy="3693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b="1" noProof="1">
                <a:solidFill>
                  <a:srgbClr val="7030A0"/>
                </a:solidFill>
              </a:rPr>
              <a:t>07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A61D3695-EE01-6053-DDB7-1C2D33FB746F}"/>
              </a:ext>
            </a:extLst>
          </p:cNvPr>
          <p:cNvSpPr txBox="1"/>
          <p:nvPr/>
        </p:nvSpPr>
        <p:spPr>
          <a:xfrm>
            <a:off x="5425476" y="3264567"/>
            <a:ext cx="515847" cy="3693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b="1" noProof="1">
                <a:solidFill>
                  <a:srgbClr val="7030A0"/>
                </a:solidFill>
              </a:rPr>
              <a:t>06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66FD0FA-4ADA-76C4-9D4E-ACB565E7C5E3}"/>
              </a:ext>
            </a:extLst>
          </p:cNvPr>
          <p:cNvSpPr txBox="1"/>
          <p:nvPr/>
        </p:nvSpPr>
        <p:spPr>
          <a:xfrm>
            <a:off x="4691670" y="3998373"/>
            <a:ext cx="515847" cy="3693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b="1" noProof="1">
                <a:solidFill>
                  <a:srgbClr val="7030A0"/>
                </a:solidFill>
              </a:rPr>
              <a:t>05</a:t>
            </a:r>
          </a:p>
        </p:txBody>
      </p:sp>
      <p:sp>
        <p:nvSpPr>
          <p:cNvPr id="86" name="TextBox 128">
            <a:extLst>
              <a:ext uri="{FF2B5EF4-FFF2-40B4-BE49-F238E27FC236}">
                <a16:creationId xmlns:a16="http://schemas.microsoft.com/office/drawing/2014/main" id="{CED449EE-1080-A1B6-9DB9-1224622C409E}"/>
              </a:ext>
            </a:extLst>
          </p:cNvPr>
          <p:cNvSpPr txBox="1"/>
          <p:nvPr/>
        </p:nvSpPr>
        <p:spPr>
          <a:xfrm>
            <a:off x="3649254" y="3998373"/>
            <a:ext cx="515847" cy="3693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b="1" noProof="1">
                <a:solidFill>
                  <a:srgbClr val="7030A0"/>
                </a:solidFill>
              </a:rPr>
              <a:t>04</a:t>
            </a:r>
          </a:p>
        </p:txBody>
      </p:sp>
      <p:sp>
        <p:nvSpPr>
          <p:cNvPr id="87" name="TextBox 129">
            <a:extLst>
              <a:ext uri="{FF2B5EF4-FFF2-40B4-BE49-F238E27FC236}">
                <a16:creationId xmlns:a16="http://schemas.microsoft.com/office/drawing/2014/main" id="{3C60D5C1-DA89-994A-887C-0CB2D653EABE}"/>
              </a:ext>
            </a:extLst>
          </p:cNvPr>
          <p:cNvSpPr txBox="1"/>
          <p:nvPr/>
        </p:nvSpPr>
        <p:spPr>
          <a:xfrm>
            <a:off x="2915448" y="3257709"/>
            <a:ext cx="515847" cy="3693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b="1" noProof="1">
                <a:solidFill>
                  <a:srgbClr val="7030A0"/>
                </a:solidFill>
              </a:rPr>
              <a:t>03</a:t>
            </a:r>
          </a:p>
        </p:txBody>
      </p:sp>
      <p:sp>
        <p:nvSpPr>
          <p:cNvPr id="88" name="TextBox 130">
            <a:extLst>
              <a:ext uri="{FF2B5EF4-FFF2-40B4-BE49-F238E27FC236}">
                <a16:creationId xmlns:a16="http://schemas.microsoft.com/office/drawing/2014/main" id="{EE9DE5FE-BAEF-3C38-CFA8-4245F47578B9}"/>
              </a:ext>
            </a:extLst>
          </p:cNvPr>
          <p:cNvSpPr txBox="1"/>
          <p:nvPr/>
        </p:nvSpPr>
        <p:spPr>
          <a:xfrm>
            <a:off x="2915448" y="2215293"/>
            <a:ext cx="515847" cy="3693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b="1" noProof="1">
                <a:solidFill>
                  <a:srgbClr val="7030A0"/>
                </a:solidFill>
              </a:rPr>
              <a:t>02</a:t>
            </a:r>
          </a:p>
        </p:txBody>
      </p:sp>
      <p:sp>
        <p:nvSpPr>
          <p:cNvPr id="89" name="TextBox 131">
            <a:extLst>
              <a:ext uri="{FF2B5EF4-FFF2-40B4-BE49-F238E27FC236}">
                <a16:creationId xmlns:a16="http://schemas.microsoft.com/office/drawing/2014/main" id="{06C56210-5981-0D72-2FCB-7577AF58C60E}"/>
              </a:ext>
            </a:extLst>
          </p:cNvPr>
          <p:cNvSpPr txBox="1"/>
          <p:nvPr/>
        </p:nvSpPr>
        <p:spPr>
          <a:xfrm>
            <a:off x="3623250" y="1502061"/>
            <a:ext cx="515847" cy="369332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b="1" noProof="1">
                <a:solidFill>
                  <a:srgbClr val="7030A0"/>
                </a:solidFill>
              </a:rPr>
              <a:t>01</a:t>
            </a:r>
          </a:p>
        </p:txBody>
      </p:sp>
      <p:pic>
        <p:nvPicPr>
          <p:cNvPr id="90" name="Graphic 132" descr="Brainstorm with solid fill">
            <a:extLst>
              <a:ext uri="{FF2B5EF4-FFF2-40B4-BE49-F238E27FC236}">
                <a16:creationId xmlns:a16="http://schemas.microsoft.com/office/drawing/2014/main" id="{0D902704-E8BB-D867-6D79-24BCF14AB09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42894" y="3515635"/>
            <a:ext cx="307288" cy="307288"/>
          </a:xfrm>
          <a:prstGeom prst="rect">
            <a:avLst/>
          </a:prstGeom>
        </p:spPr>
      </p:pic>
      <p:pic>
        <p:nvPicPr>
          <p:cNvPr id="91" name="Graphic 133" descr="Bullseye with solid fill">
            <a:extLst>
              <a:ext uri="{FF2B5EF4-FFF2-40B4-BE49-F238E27FC236}">
                <a16:creationId xmlns:a16="http://schemas.microsoft.com/office/drawing/2014/main" id="{B709F631-302B-B53D-7FAB-77A1FF99985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76387" y="4244209"/>
            <a:ext cx="307288" cy="307288"/>
          </a:xfrm>
          <a:prstGeom prst="rect">
            <a:avLst/>
          </a:prstGeom>
        </p:spPr>
      </p:pic>
      <p:pic>
        <p:nvPicPr>
          <p:cNvPr id="92" name="Graphic 134" descr="Hourglass 30% with solid fill">
            <a:extLst>
              <a:ext uri="{FF2B5EF4-FFF2-40B4-BE49-F238E27FC236}">
                <a16:creationId xmlns:a16="http://schemas.microsoft.com/office/drawing/2014/main" id="{48410E68-CFEB-49A7-B71E-EA6F066F6B8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19646" y="2471777"/>
            <a:ext cx="307288" cy="307288"/>
          </a:xfrm>
          <a:prstGeom prst="rect">
            <a:avLst/>
          </a:prstGeom>
        </p:spPr>
      </p:pic>
      <p:pic>
        <p:nvPicPr>
          <p:cNvPr id="93" name="Graphic 135" descr="Lightbulb with solid fill">
            <a:extLst>
              <a:ext uri="{FF2B5EF4-FFF2-40B4-BE49-F238E27FC236}">
                <a16:creationId xmlns:a16="http://schemas.microsoft.com/office/drawing/2014/main" id="{C4C8759B-11CE-B4BB-DF6D-BBD5FC3019A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82630" y="1739233"/>
            <a:ext cx="307288" cy="307288"/>
          </a:xfrm>
          <a:prstGeom prst="rect">
            <a:avLst/>
          </a:prstGeom>
        </p:spPr>
      </p:pic>
      <p:pic>
        <p:nvPicPr>
          <p:cNvPr id="94" name="Graphic 136" descr="Research with solid fill">
            <a:extLst>
              <a:ext uri="{FF2B5EF4-FFF2-40B4-BE49-F238E27FC236}">
                <a16:creationId xmlns:a16="http://schemas.microsoft.com/office/drawing/2014/main" id="{90BA24C5-6E5D-EE74-6C47-74AB96194E4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058117" y="1735842"/>
            <a:ext cx="307288" cy="307288"/>
          </a:xfrm>
          <a:prstGeom prst="rect">
            <a:avLst/>
          </a:prstGeom>
        </p:spPr>
      </p:pic>
      <p:pic>
        <p:nvPicPr>
          <p:cNvPr id="95" name="Graphic 137" descr="Bar graph with upward trend with solid fill">
            <a:extLst>
              <a:ext uri="{FF2B5EF4-FFF2-40B4-BE49-F238E27FC236}">
                <a16:creationId xmlns:a16="http://schemas.microsoft.com/office/drawing/2014/main" id="{A1D79580-5FE4-E3CF-A1D2-8A1EB918696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843696" y="2489313"/>
            <a:ext cx="307288" cy="307288"/>
          </a:xfrm>
          <a:prstGeom prst="rect">
            <a:avLst/>
          </a:prstGeom>
        </p:spPr>
      </p:pic>
      <p:pic>
        <p:nvPicPr>
          <p:cNvPr id="96" name="Graphic 138" descr="Gears with solid fill">
            <a:extLst>
              <a:ext uri="{FF2B5EF4-FFF2-40B4-BE49-F238E27FC236}">
                <a16:creationId xmlns:a16="http://schemas.microsoft.com/office/drawing/2014/main" id="{E042AF40-FDF1-2F9A-5D91-4C2EE2F49D52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036392" y="4250247"/>
            <a:ext cx="307288" cy="307288"/>
          </a:xfrm>
          <a:prstGeom prst="rect">
            <a:avLst/>
          </a:prstGeom>
        </p:spPr>
      </p:pic>
      <p:pic>
        <p:nvPicPr>
          <p:cNvPr id="97" name="Graphic 139" descr="Eye with solid fill">
            <a:extLst>
              <a:ext uri="{FF2B5EF4-FFF2-40B4-BE49-F238E27FC236}">
                <a16:creationId xmlns:a16="http://schemas.microsoft.com/office/drawing/2014/main" id="{21F25730-9896-A4A2-8097-4A15C4918E0F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801653" y="3526309"/>
            <a:ext cx="307288" cy="307288"/>
          </a:xfrm>
          <a:prstGeom prst="rect">
            <a:avLst/>
          </a:prstGeom>
        </p:spPr>
      </p:pic>
      <p:sp>
        <p:nvSpPr>
          <p:cNvPr id="115" name="Rectangle 147">
            <a:extLst>
              <a:ext uri="{FF2B5EF4-FFF2-40B4-BE49-F238E27FC236}">
                <a16:creationId xmlns:a16="http://schemas.microsoft.com/office/drawing/2014/main" id="{0498145B-49FD-1ACE-40E3-84AF5F3B4032}"/>
              </a:ext>
            </a:extLst>
          </p:cNvPr>
          <p:cNvSpPr/>
          <p:nvPr/>
        </p:nvSpPr>
        <p:spPr>
          <a:xfrm>
            <a:off x="2054189" y="1457049"/>
            <a:ext cx="2235067" cy="4826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vert="horz" lIns="54000" tIns="27000" rIns="27000" bIns="27000" rtlCol="0" anchor="ctr"/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CHEDA CLIENTE</a:t>
            </a:r>
          </a:p>
        </p:txBody>
      </p:sp>
      <p:sp>
        <p:nvSpPr>
          <p:cNvPr id="117" name="Rectangle 147">
            <a:extLst>
              <a:ext uri="{FF2B5EF4-FFF2-40B4-BE49-F238E27FC236}">
                <a16:creationId xmlns:a16="http://schemas.microsoft.com/office/drawing/2014/main" id="{2A7D836F-3F83-1619-59DD-89D6522E05BD}"/>
              </a:ext>
            </a:extLst>
          </p:cNvPr>
          <p:cNvSpPr/>
          <p:nvPr/>
        </p:nvSpPr>
        <p:spPr>
          <a:xfrm>
            <a:off x="816311" y="2295057"/>
            <a:ext cx="2001440" cy="4826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vert="horz" lIns="54000" tIns="27000" rIns="27000" bIns="27000" rtlCol="0" anchor="ctr"/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ORDI COMMERCIALI</a:t>
            </a:r>
          </a:p>
        </p:txBody>
      </p:sp>
      <p:sp>
        <p:nvSpPr>
          <p:cNvPr id="118" name="Rectangle 147">
            <a:extLst>
              <a:ext uri="{FF2B5EF4-FFF2-40B4-BE49-F238E27FC236}">
                <a16:creationId xmlns:a16="http://schemas.microsoft.com/office/drawing/2014/main" id="{248CE652-B512-A0EB-0ECA-02D680B36BEF}"/>
              </a:ext>
            </a:extLst>
          </p:cNvPr>
          <p:cNvSpPr/>
          <p:nvPr/>
        </p:nvSpPr>
        <p:spPr>
          <a:xfrm>
            <a:off x="1084579" y="3358036"/>
            <a:ext cx="2235067" cy="4826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vert="horz" lIns="54000" tIns="27000" rIns="27000" bIns="27000" rtlCol="0" anchor="ctr"/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ESTIONE CONTATTI</a:t>
            </a:r>
          </a:p>
        </p:txBody>
      </p:sp>
      <p:sp>
        <p:nvSpPr>
          <p:cNvPr id="119" name="Rectangle 147">
            <a:extLst>
              <a:ext uri="{FF2B5EF4-FFF2-40B4-BE49-F238E27FC236}">
                <a16:creationId xmlns:a16="http://schemas.microsoft.com/office/drawing/2014/main" id="{0CFEE558-6270-BEFD-1EC0-2879EE7294D0}"/>
              </a:ext>
            </a:extLst>
          </p:cNvPr>
          <p:cNvSpPr/>
          <p:nvPr/>
        </p:nvSpPr>
        <p:spPr>
          <a:xfrm>
            <a:off x="2014002" y="4204178"/>
            <a:ext cx="2235067" cy="4826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vert="horz" lIns="54000" tIns="27000" rIns="27000" bIns="27000" rtlCol="0" anchor="ctr"/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TIONE VISITE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7" name="Rectangle 147">
            <a:extLst>
              <a:ext uri="{FF2B5EF4-FFF2-40B4-BE49-F238E27FC236}">
                <a16:creationId xmlns:a16="http://schemas.microsoft.com/office/drawing/2014/main" id="{187F4242-4B2C-95FA-8855-5001F455DF2C}"/>
              </a:ext>
            </a:extLst>
          </p:cNvPr>
          <p:cNvSpPr/>
          <p:nvPr/>
        </p:nvSpPr>
        <p:spPr>
          <a:xfrm>
            <a:off x="5669683" y="1457271"/>
            <a:ext cx="2688467" cy="4826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vert="horz" lIns="54000" tIns="27000" rIns="27000" bIns="27000" rtlCol="0" anchor="ctr"/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USTERIZZAZIONE CLIENTI</a:t>
            </a:r>
          </a:p>
        </p:txBody>
      </p:sp>
      <p:sp>
        <p:nvSpPr>
          <p:cNvPr id="128" name="Rectangle 147">
            <a:extLst>
              <a:ext uri="{FF2B5EF4-FFF2-40B4-BE49-F238E27FC236}">
                <a16:creationId xmlns:a16="http://schemas.microsoft.com/office/drawing/2014/main" id="{D912C637-4436-8527-BAC1-DD43596F6250}"/>
              </a:ext>
            </a:extLst>
          </p:cNvPr>
          <p:cNvSpPr/>
          <p:nvPr/>
        </p:nvSpPr>
        <p:spPr>
          <a:xfrm>
            <a:off x="6369419" y="2295056"/>
            <a:ext cx="2688467" cy="4826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vert="horz" lIns="54000" tIns="27000" rIns="27000" bIns="27000" rtlCol="0" anchor="ctr"/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IETTIVI COMMERCIALI E DI VENDITA</a:t>
            </a:r>
          </a:p>
        </p:txBody>
      </p:sp>
      <p:sp>
        <p:nvSpPr>
          <p:cNvPr id="129" name="Rectangle 147">
            <a:extLst>
              <a:ext uri="{FF2B5EF4-FFF2-40B4-BE49-F238E27FC236}">
                <a16:creationId xmlns:a16="http://schemas.microsoft.com/office/drawing/2014/main" id="{E29CE60D-E90A-28F9-F5DE-43239A04B18D}"/>
              </a:ext>
            </a:extLst>
          </p:cNvPr>
          <p:cNvSpPr/>
          <p:nvPr/>
        </p:nvSpPr>
        <p:spPr>
          <a:xfrm>
            <a:off x="6455533" y="3350910"/>
            <a:ext cx="2688467" cy="4826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vert="horz" lIns="54000" tIns="27000" rIns="27000" bIns="27000" rtlCol="0" anchor="ctr"/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VISIONI DI VENDITA</a:t>
            </a:r>
          </a:p>
        </p:txBody>
      </p:sp>
      <p:sp>
        <p:nvSpPr>
          <p:cNvPr id="130" name="Rectangle 147">
            <a:extLst>
              <a:ext uri="{FF2B5EF4-FFF2-40B4-BE49-F238E27FC236}">
                <a16:creationId xmlns:a16="http://schemas.microsoft.com/office/drawing/2014/main" id="{F2D5B038-D30F-E3C0-1B0A-899F33D5A174}"/>
              </a:ext>
            </a:extLst>
          </p:cNvPr>
          <p:cNvSpPr/>
          <p:nvPr/>
        </p:nvSpPr>
        <p:spPr>
          <a:xfrm>
            <a:off x="5683399" y="4208136"/>
            <a:ext cx="2688467" cy="4826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vert="horz" lIns="54000" tIns="27000" rIns="27000" bIns="27000" rtlCol="0" anchor="ctr"/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ORKFLOW APPROVATIVO</a:t>
            </a:r>
          </a:p>
        </p:txBody>
      </p:sp>
      <p:sp>
        <p:nvSpPr>
          <p:cNvPr id="3" name="Freeform 86">
            <a:extLst>
              <a:ext uri="{FF2B5EF4-FFF2-40B4-BE49-F238E27FC236}">
                <a16:creationId xmlns:a16="http://schemas.microsoft.com/office/drawing/2014/main" id="{4FF365B5-4363-7DD0-DACC-63CC532AD990}"/>
              </a:ext>
            </a:extLst>
          </p:cNvPr>
          <p:cNvSpPr/>
          <p:nvPr/>
        </p:nvSpPr>
        <p:spPr>
          <a:xfrm>
            <a:off x="8278600" y="292573"/>
            <a:ext cx="601677" cy="299668"/>
          </a:xfrm>
          <a:prstGeom prst="roundRect">
            <a:avLst/>
          </a:prstGeom>
          <a:solidFill>
            <a:srgbClr val="E0E1E3"/>
          </a:solidFill>
          <a:ln w="1152" cap="flat">
            <a:noFill/>
            <a:prstDash val="solid"/>
            <a:miter/>
          </a:ln>
          <a:effectLst>
            <a:glow rad="228600">
              <a:srgbClr val="F41ED0">
                <a:alpha val="40000"/>
              </a:srgbClr>
            </a:glow>
          </a:effectLst>
        </p:spPr>
        <p:txBody>
          <a:bodyPr lIns="0" tIns="0" rIns="0" bIns="0" rtlCol="0" anchor="ctr"/>
          <a:lstStyle/>
          <a:p>
            <a:pPr algn="ctr"/>
            <a:r>
              <a:rPr lang="en-US" sz="800" b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i successive</a:t>
            </a:r>
          </a:p>
        </p:txBody>
      </p:sp>
      <p:pic>
        <p:nvPicPr>
          <p:cNvPr id="4" name="Picture 4" descr="8 Things You Need to Know Before Running a CRM System for ...">
            <a:extLst>
              <a:ext uri="{FF2B5EF4-FFF2-40B4-BE49-F238E27FC236}">
                <a16:creationId xmlns:a16="http://schemas.microsoft.com/office/drawing/2014/main" id="{025AD2C9-66BB-2D96-12D7-455A20C394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943" t="6225" r="9776" b="-3440"/>
          <a:stretch/>
        </p:blipFill>
        <p:spPr bwMode="auto">
          <a:xfrm>
            <a:off x="3719073" y="2343455"/>
            <a:ext cx="1665487" cy="149400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107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10.0.17134.0"/>
  <p:tag name="AS_RELEASE_DATE" val="2017.05.17"/>
  <p:tag name="AS_TITLE" val="Aspose.Slides for .NET 4.0"/>
  <p:tag name="AS_VERSION" val="17.5"/>
  <p:tag name="MEKKOFORMATS" val="&lt;MekkoFormats&gt;&lt;NumberFormat DecimalSeparator=&quot;,&quot; ThousandSeparator=&quot;.&quot; NegativeNumberFormat=&quot;1&quot; /&gt;&lt;Font&gt;&lt;Output_Font_Name Default=&quot;Arial&quot; UsePPTTheme=&quot;True&quot; /&gt;&lt;FarEast_Output_Font_Name Default=&quot;Arial&quot; UsePPTTheme=&quot;True&quot; RotateAndFlipEnabled=&quot;False&quot; /&gt;&lt;/Font&gt;&lt;DateFormat CultureID=&quot;1040&quot; FormatString=&quot;dd/MM/yyyy&quot; /&gt;&lt;/MekkoFormats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QPT_STAMP" val="0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2_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Custom 2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The Future of the European Supply Chain_18 April 2022.potx" id="{C50B07F5-D386-4C40-8AFF-C4834EEBFBE0}" vid="{E5A37AB0-65D0-495C-923C-25883D55E887}"/>
    </a:ext>
  </a:extLst>
</a:theme>
</file>

<file path=ppt/theme/theme2.xml><?xml version="1.0" encoding="utf-8"?>
<a:theme xmlns:a="http://schemas.openxmlformats.org/drawingml/2006/main" name="13_Accenture 2020">
  <a:themeElements>
    <a:clrScheme name="Accenture 2020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A100FF"/>
      </a:accent1>
      <a:accent2>
        <a:srgbClr val="7500C0"/>
      </a:accent2>
      <a:accent3>
        <a:srgbClr val="460073"/>
      </a:accent3>
      <a:accent4>
        <a:srgbClr val="B455AA"/>
      </a:accent4>
      <a:accent5>
        <a:srgbClr val="BE82FF"/>
      </a:accent5>
      <a:accent6>
        <a:srgbClr val="DCAFFF"/>
      </a:accent6>
      <a:hlink>
        <a:srgbClr val="A100FF"/>
      </a:hlink>
      <a:folHlink>
        <a:srgbClr val="7500C0"/>
      </a:folHlink>
    </a:clrScheme>
    <a:fontScheme name="Custom 2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custClrLst>
    <a:custClr name="Accent Purple 1">
      <a:srgbClr val="B455AA"/>
    </a:custClr>
    <a:custClr name="Accent Purple 2">
      <a:srgbClr val="A055F5"/>
    </a:custClr>
    <a:custClr name="Accent Purple 3">
      <a:srgbClr val="BE82FF"/>
    </a:custClr>
    <a:custClr name="Accent Purple 4">
      <a:srgbClr val="DCAFFF"/>
    </a:custClr>
    <a:custClr name="Accent Purple 5">
      <a:srgbClr val="E6DC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Blue">
      <a:srgbClr val="0041F0"/>
    </a:custClr>
    <a:custClr name="Light Blue">
      <a:srgbClr val="00FFFF"/>
    </a:custClr>
    <a:custClr name="Green">
      <a:srgbClr val="64FF50"/>
    </a:custClr>
    <a:custClr name="Blue Green">
      <a:srgbClr val="05F0A5"/>
    </a:custClr>
    <a:custClr name="Red">
      <a:srgbClr val="FF3246"/>
    </a:custClr>
    <a:custClr name="Pink">
      <a:srgbClr val="FF50A0"/>
    </a:custClr>
    <a:custClr name="Orange">
      <a:srgbClr val="FF7800"/>
    </a:custClr>
    <a:custClr name="Yellow">
      <a:srgbClr val="FFEB32"/>
    </a:custClr>
    <a:custClr name="BLANK">
      <a:srgbClr val="FFFFFF"/>
    </a:custClr>
    <a:custClr name="BLANK">
      <a:srgbClr val="FFFFFF"/>
    </a:custClr>
  </a:custClrLst>
  <a:extLst>
    <a:ext uri="{05A4C25C-085E-4340-85A3-A5531E510DB2}">
      <thm15:themeFamily xmlns:thm15="http://schemas.microsoft.com/office/thememl/2012/main" name="The Future of the European Supply Chain_18 April 2022.potx" id="{C50B07F5-D386-4C40-8AFF-C4834EEBFBE0}" vid="{E5A37AB0-65D0-495C-923C-25883D55E887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>
            <a:lumMod val="5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0DF69B2F29E2845B0D29192A9128758" ma:contentTypeVersion="4" ma:contentTypeDescription="Creare un nuovo documento." ma:contentTypeScope="" ma:versionID="f520b2dc98dacb3258d6bc0b185d393c">
  <xsd:schema xmlns:xsd="http://www.w3.org/2001/XMLSchema" xmlns:xs="http://www.w3.org/2001/XMLSchema" xmlns:p="http://schemas.microsoft.com/office/2006/metadata/properties" xmlns:ns2="3c44365a-41d1-42a0-a878-4a86e63ff740" targetNamespace="http://schemas.microsoft.com/office/2006/metadata/properties" ma:root="true" ma:fieldsID="33de8a1f09d2783aee4422aa6ff8a5ce" ns2:_="">
    <xsd:import namespace="3c44365a-41d1-42a0-a878-4a86e63ff7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44365a-41d1-42a0-a878-4a86e63ff7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350E56C-338E-40C0-8D4A-0A7F5DA27777}">
  <ds:schemaRefs>
    <ds:schemaRef ds:uri="3c44365a-41d1-42a0-a878-4a86e63ff74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D62CFC1-54AB-49EA-84A0-A957A5B99FD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902D605-8989-41FD-BB04-2ECE9AC89F96}">
  <ds:schemaRefs>
    <ds:schemaRef ds:uri="3c44365a-41d1-42a0-a878-4a86e63ff74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e0793d39-0939-496d-b129-198edd916feb}" enabled="0" method="" siteId="{e0793d39-0939-496d-b129-198edd916fe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01</Words>
  <Application>Microsoft Office PowerPoint</Application>
  <PresentationFormat>Presentazione su schermo (16:9)</PresentationFormat>
  <Paragraphs>165</Paragraphs>
  <Slides>10</Slides>
  <Notes>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4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28" baseType="lpstr">
      <vt:lpstr>Arial</vt:lpstr>
      <vt:lpstr>Arial Black</vt:lpstr>
      <vt:lpstr>Calibri</vt:lpstr>
      <vt:lpstr>Century Gothic</vt:lpstr>
      <vt:lpstr>Graphik</vt:lpstr>
      <vt:lpstr>Graphik Black</vt:lpstr>
      <vt:lpstr>Graphik Light</vt:lpstr>
      <vt:lpstr>Graphik Medium</vt:lpstr>
      <vt:lpstr>Graphik Semibold</vt:lpstr>
      <vt:lpstr>Graphik-Light</vt:lpstr>
      <vt:lpstr>Graphik-SemiboldItalic</vt:lpstr>
      <vt:lpstr>GT Sectra Fine Rg</vt:lpstr>
      <vt:lpstr>Sky Text Medium</vt:lpstr>
      <vt:lpstr>Tele-GroteskNor</vt:lpstr>
      <vt:lpstr>12_Accenture 2020</vt:lpstr>
      <vt:lpstr>13_Accenture 2020</vt:lpstr>
      <vt:lpstr>Tema di Office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MIX - Comitato Direttivo</dc:title>
  <dc:creator>Natale Raffaele</dc:creator>
  <cp:lastModifiedBy>Sinatora Stefania</cp:lastModifiedBy>
  <cp:revision>39</cp:revision>
  <cp:lastPrinted>2020-01-16T16:29:04Z</cp:lastPrinted>
  <dcterms:created xsi:type="dcterms:W3CDTF">2019-12-14T11:08:33Z</dcterms:created>
  <dcterms:modified xsi:type="dcterms:W3CDTF">2024-11-27T17:04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0DF69B2F29E2845B0D29192A9128758</vt:lpwstr>
  </property>
  <property fmtid="{D5CDD505-2E9C-101B-9397-08002B2CF9AE}" pid="3" name="xd_ProgID">
    <vt:lpwstr/>
  </property>
  <property fmtid="{D5CDD505-2E9C-101B-9397-08002B2CF9AE}" pid="4" name="ComplianceAssetId">
    <vt:lpwstr/>
  </property>
  <property fmtid="{D5CDD505-2E9C-101B-9397-08002B2CF9AE}" pid="5" name="TemplateUrl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xd_Signature">
    <vt:bool>false</vt:bool>
  </property>
  <property fmtid="{D5CDD505-2E9C-101B-9397-08002B2CF9AE}" pid="9" name="MediaServiceImageTags">
    <vt:lpwstr/>
  </property>
</Properties>
</file>